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notesSlides/notesSlide11.xml" ContentType="application/vnd.openxmlformats-officedocument.presentationml.notesSlide+xml"/>
  <Override PartName="/ppt/tags/tag24.xml" ContentType="application/vnd.openxmlformats-officedocument.presentationml.tags+xml"/>
  <Override PartName="/ppt/tags/tag64.xml" ContentType="application/vnd.openxmlformats-officedocument.presentationml.tags+xml"/>
  <Override PartName="/ppt/charts/chart6.xml" ContentType="application/vnd.openxmlformats-officedocument.drawingml.chart+xml"/>
  <Override PartName="/ppt/slideLayouts/slideLayout4.xml" ContentType="application/vnd.openxmlformats-officedocument.presentationml.slideLayout+xml"/>
  <Override PartName="/ppt/tags/tag123.xml" ContentType="application/vnd.openxmlformats-officedocument.presentationml.tags+xml"/>
  <Override PartName="/ppt/tags/tag10.xml" ContentType="application/vnd.openxmlformats-officedocument.presentationml.tags+xml"/>
  <Override PartName="/ppt/tags/tag120.xml" ContentType="application/vnd.openxmlformats-officedocument.presentationml.tags+xml"/>
  <Override PartName="/ppt/tags/tag2.xml" ContentType="application/vnd.openxmlformats-officedocument.presentationml.tags+xml"/>
  <Override PartName="/ppt/tags/tag121.xml" ContentType="application/vnd.openxmlformats-officedocument.presentationml.tags+xml"/>
  <Override PartName="/ppt/tags/tag34.xml" ContentType="application/vnd.openxmlformats-officedocument.presentationml.tags+xml"/>
  <Override PartName="/docProps/app.xml" ContentType="application/vnd.openxmlformats-officedocument.extended-properties+xml"/>
  <Override PartName="/ppt/tags/tag104.xml" ContentType="application/vnd.openxmlformats-officedocument.presentationml.tags+xml"/>
  <Override PartName="/docProps/core.xml" ContentType="application/vnd.openxmlformats-package.core-properties+xml"/>
  <Override PartName="/ppt/tags/tag135.xml" ContentType="application/vnd.openxmlformats-officedocument.presentationml.tags+xml"/>
  <Override PartName="/ppt/tags/tag153.xml" ContentType="application/vnd.openxmlformats-officedocument.presentationml.tags+xml"/>
  <Override PartName="/ppt/tags/tag12.xml" ContentType="application/vnd.openxmlformats-officedocument.presentationml.tags+xml"/>
  <Override PartName="/ppt/authors.xml" ContentType="application/vnd.ms-powerpoint.authors+xml"/>
  <Override PartName="/ppt/tags/tag55.xml" ContentType="application/vnd.openxmlformats-officedocument.presentationml.tags+xml"/>
  <Override PartName="/ppt/tags/tag16.xml" ContentType="application/vnd.openxmlformats-officedocument.presentationml.tags+xml"/>
  <Override PartName="/ppt/tags/tag5.xml" ContentType="application/vnd.openxmlformats-officedocument.presentationml.tags+xml"/>
  <Override PartName="/ppt/tags/tag89.xml" ContentType="application/vnd.openxmlformats-officedocument.presentationml.tags+xml"/>
  <Override PartName="/ppt/tags/tag30.xml" ContentType="application/vnd.openxmlformats-officedocument.presentationml.tags+xml"/>
  <Override PartName="/ppt/charts/chart1.xml" ContentType="application/vnd.openxmlformats-officedocument.drawingml.chart+xml"/>
  <Override PartName="/ppt/tags/tag78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7.xml" ContentType="application/vnd.openxmlformats-officedocument.drawingml.chart+xml"/>
  <Override PartName="/ppt/tags/tag106.xml" ContentType="application/vnd.openxmlformats-officedocument.presentationml.tags+xml"/>
  <Override PartName="/ppt/tags/tag87.xml" ContentType="application/vnd.openxmlformats-officedocument.presentationml.tags+xml"/>
  <Override PartName="/ppt/tags/tag54.xml" ContentType="application/vnd.openxmlformats-officedocument.presentationml.tags+xml"/>
  <Override PartName="/ppt/tags/tag33.xml" ContentType="application/vnd.openxmlformats-officedocument.presentationml.tags+xml"/>
  <Override PartName="/ppt/tags/tag14.xml" ContentType="application/vnd.openxmlformats-officedocument.presentationml.tags+xml"/>
  <Override PartName="/ppt/tags/tag85.xml" ContentType="application/vnd.openxmlformats-officedocument.presentationml.tags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22.xml" ContentType="application/vnd.openxmlformats-officedocument.presentationml.tags+xml"/>
  <Override PartName="/ppt/tags/tag6.xml" ContentType="application/vnd.openxmlformats-officedocument.presentationml.tags+xml"/>
  <Override PartName="/ppt/tags/tag77.xml" ContentType="application/vnd.openxmlformats-officedocument.presentationml.tags+xml"/>
  <Override PartName="/ppt/tags/tag57.xml" ContentType="application/vnd.openxmlformats-officedocument.presentationml.tags+xml"/>
  <Override PartName="/ppt/tags/tag11.xml" ContentType="application/vnd.openxmlformats-officedocument.presentationml.tags+xml"/>
  <Override PartName="/ppt/tags/tag122.xml" ContentType="application/vnd.openxmlformats-officedocument.presentationml.tags+xml"/>
  <Override PartName="/ppt/tags/tag65.xml" ContentType="application/vnd.openxmlformats-officedocument.presentationml.tags+xml"/>
  <Override PartName="/ppt/tags/tag146.xml" ContentType="application/vnd.openxmlformats-officedocument.presentationml.tags+xml"/>
  <Override PartName="/ppt/slides/slide10.xml" ContentType="application/vnd.openxmlformats-officedocument.presentationml.slide+xml"/>
  <Override PartName="/ppt/tags/tag94.xml" ContentType="application/vnd.openxmlformats-officedocument.presentationml.tags+xml"/>
  <Override PartName="/ppt/tags/tag26.xml" ContentType="application/vnd.openxmlformats-officedocument.presentationml.tags+xml"/>
  <Override PartName="/ppt/tags/tag42.xml" ContentType="application/vnd.openxmlformats-officedocument.presentationml.tags+xml"/>
  <Override PartName="/ppt/tags/tag137.xml" ContentType="application/vnd.openxmlformats-officedocument.presentationml.tags+xml"/>
  <Override PartName="/ppt/tags/tag25.xml" ContentType="application/vnd.openxmlformats-officedocument.presentationml.tags+xml"/>
  <Override PartName="/ppt/tags/tag149.xml" ContentType="application/vnd.openxmlformats-officedocument.presentationml.tags+xml"/>
  <Override PartName="/ppt/tags/tag43.xml" ContentType="application/vnd.openxmlformats-officedocument.presentationml.tags+xml"/>
  <Override PartName="/ppt/notesMasters/notesMaster1.xml" ContentType="application/vnd.openxmlformats-officedocument.presentationml.notesMaster+xml"/>
  <Override PartName="/ppt/tags/tag145.xml" ContentType="application/vnd.openxmlformats-officedocument.presentationml.tags+xml"/>
  <Override PartName="/ppt/notesSlides/notesSlide3.xml" ContentType="application/vnd.openxmlformats-officedocument.presentationml.notesSlide+xml"/>
  <Override PartName="/ppt/slides/slide5.xml" ContentType="application/vnd.openxmlformats-officedocument.presentationml.slide+xml"/>
  <Override PartName="/ppt/tags/tag63.xml" ContentType="application/vnd.openxmlformats-officedocument.presentationml.tags+xml"/>
  <Override PartName="/ppt/viewProps.xml" ContentType="application/vnd.openxmlformats-officedocument.presentationml.viewProps+xml"/>
  <Override PartName="/ppt/notesSlides/notesSlide1.xml" ContentType="application/vnd.openxmlformats-officedocument.presentationml.notesSlide+xml"/>
  <Override PartName="/ppt/slides/slide7.xml" ContentType="application/vnd.openxmlformats-officedocument.presentationml.slide+xml"/>
  <Override PartName="/ppt/notesSlides/notesSlide12.xml" ContentType="application/vnd.openxmlformats-officedocument.presentationml.notesSlid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notesSlides/notesSlide4.xml" ContentType="application/vnd.openxmlformats-officedocument.presentationml.notesSlide+xml"/>
  <Override PartName="/ppt/slides/slide2.xml" ContentType="application/vnd.openxmlformats-officedocument.presentationml.slide+xml"/>
  <Override PartName="/ppt/notesSlides/notesSlide5.xml" ContentType="application/vnd.openxmlformats-officedocument.presentationml.notesSlide+xml"/>
  <Override PartName="/ppt/slides/slide3.xml" ContentType="application/vnd.openxmlformats-officedocument.presentationml.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1.xml" ContentType="application/vnd.openxmlformats-officedocument.presentationml.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tags/tag132.xml" ContentType="application/vnd.openxmlformats-officedocument.presentationml.tag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61.xml" ContentType="application/vnd.openxmlformats-officedocument.presentationml.tags+xml"/>
  <Override PartName="/ppt/tags/tag73.xml" ContentType="application/vnd.openxmlformats-officedocument.presentationml.tags+xml"/>
  <Override PartName="/ppt/tags/tag81.xml" ContentType="application/vnd.openxmlformats-officedocument.presentationml.tags+xml"/>
  <Override PartName="/ppt/tags/tag129.xml" ContentType="application/vnd.openxmlformats-officedocument.presentationml.tags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6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5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6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3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88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2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1.xml" ContentType="application/vnd.openxmlformats-officedocument.theme+xml"/>
  <Override PartName="/ppt/tags/tag56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2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4.xml" ContentType="application/vnd.openxmlformats-officedocument.presentationml.tags+xml"/>
  <Override PartName="/ppt/tags/tag80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6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5" r:id="rId1"/>
  </p:sldMasterIdLst>
  <p:notesMasterIdLst>
    <p:notesMasterId r:id="rId14"/>
  </p:notesMasterIdLst>
  <p:sldIdLst>
    <p:sldId id="2147473319" r:id="rId2"/>
    <p:sldId id="2147477603" r:id="rId3"/>
    <p:sldId id="2147473146" r:id="rId4"/>
    <p:sldId id="438" r:id="rId5"/>
    <p:sldId id="436" r:id="rId6"/>
    <p:sldId id="2147473235" r:id="rId7"/>
    <p:sldId id="2147473211" r:id="rId8"/>
    <p:sldId id="2147473247" r:id="rId9"/>
    <p:sldId id="2147473318" r:id="rId10"/>
    <p:sldId id="2147473305" r:id="rId11"/>
    <p:sldId id="2147473219" r:id="rId12"/>
    <p:sldId id="278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B8EA2119-A50E-4F6A-9421-1456EA6599FE}">
          <p14:sldIdLst>
            <p14:sldId id="2147473319"/>
            <p14:sldId id="2147477603"/>
          </p14:sldIdLst>
        </p14:section>
        <p14:section name="Agenda" id="{6D3CC96C-803D-4077-81F7-58A57674FBCA}">
          <p14:sldIdLst>
            <p14:sldId id="2147473146"/>
          </p14:sldIdLst>
        </p14:section>
        <p14:section name="Project overview" id="{50CD265E-CCC5-45C7-ADE8-B33AADDBD1E9}">
          <p14:sldIdLst>
            <p14:sldId id="438"/>
            <p14:sldId id="436"/>
          </p14:sldIdLst>
        </p14:section>
        <p14:section name="Key activities and risks" id="{DF13BD73-020A-4F5F-BC40-DCA27B39568D}">
          <p14:sldIdLst>
            <p14:sldId id="2147473235"/>
            <p14:sldId id="2147473211"/>
            <p14:sldId id="2147473247"/>
          </p14:sldIdLst>
        </p14:section>
        <p14:section name="Timeline &amp; milestones" id="{8EEF46ED-5028-43FC-9AE2-9D84D9B4C26C}">
          <p14:sldIdLst>
            <p14:sldId id="2147473318"/>
            <p14:sldId id="2147473305"/>
          </p14:sldIdLst>
        </p14:section>
        <p14:section name="Next steps" id="{A716C684-7280-4C7F-B382-0D40B2711E3E}">
          <p14:sldIdLst>
            <p14:sldId id="2147473219"/>
          </p14:sldIdLst>
        </p14:section>
        <p14:section name="Questions" id="{F26D5195-5A73-470B-8F7A-9D5EFE2F6065}">
          <p14:sldIdLst>
            <p14:sldId id="27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442BF51-31E7-4E48-999E-A33526AB3B32}" v="1164" dt="2026-02-10T13:18:53.26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2838" autoAdjust="0"/>
  </p:normalViewPr>
  <p:slideViewPr>
    <p:cSldViewPr snapToGrid="0">
      <p:cViewPr>
        <p:scale>
          <a:sx n="100" d="100"/>
          <a:sy n="100" d="100"/>
        </p:scale>
        <p:origin x="2556" y="6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-24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microsoft.com/office/2018/10/relationships/authors" Target="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ustomXml" Target="../customXml/item3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23" Type="http://schemas.openxmlformats.org/officeDocument/2006/relationships/customXml" Target="../customXml/item2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customXml" Target="../customXml/item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202363367799114E-2"/>
          <c:y val="6.0465116279069767E-2"/>
          <c:w val="0.96159527326440175"/>
          <c:h val="0.87906976744186049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circle"/>
            <c:size val="7"/>
            <c:spPr>
              <a:solidFill>
                <a:schemeClr val="accent1"/>
              </a:solidFill>
              <a:ln w="9525" cmpd="sng" algn="ctr">
                <a:solidFill>
                  <a:schemeClr val="accent1"/>
                </a:solidFill>
                <a:prstDash val="solid"/>
              </a:ln>
            </c:spPr>
          </c:marker>
          <c:val>
            <c:numRef>
              <c:f>Sheet1!$A$1:$F$1</c:f>
              <c:numCache>
                <c:formatCode>General</c:formatCode>
                <c:ptCount val="6"/>
                <c:pt idx="0">
                  <c:v>4.0999999999999996</c:v>
                </c:pt>
                <c:pt idx="1">
                  <c:v>5.3</c:v>
                </c:pt>
                <c:pt idx="2">
                  <c:v>3.2</c:v>
                </c:pt>
                <c:pt idx="3">
                  <c:v>1.5</c:v>
                </c:pt>
                <c:pt idx="4">
                  <c:v>2.8</c:v>
                </c:pt>
                <c:pt idx="5">
                  <c:v>5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C7C-42F0-BE5D-5E4C8AB74D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3118080"/>
        <c:axId val="1"/>
      </c:lineChart>
      <c:catAx>
        <c:axId val="553118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.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5531180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8872180451127817E-2"/>
          <c:y val="5.6399132321041212E-2"/>
          <c:w val="0.90225563909774431"/>
          <c:h val="0.8872017353579175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4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0E6-4503-A851-C3E5AC0CDC1A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30E6-4503-A851-C3E5AC0CDC1A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30E6-4503-A851-C3E5AC0CDC1A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57.4</c:v>
                </c:pt>
                <c:pt idx="1">
                  <c:v>23.599999999999998</c:v>
                </c:pt>
                <c:pt idx="2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0E6-4503-A851-C3E5AC0CDC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202363367799114E-2"/>
          <c:y val="0.23896103896103896"/>
          <c:w val="0.96159527326440175"/>
          <c:h val="0.5939393939393939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82251082251082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E96-41DB-9B51-4D267F6F84DE}"/>
                </c:ext>
              </c:extLst>
            </c:dLbl>
            <c:dLbl>
              <c:idx val="1"/>
              <c:layout>
                <c:manualLayout>
                  <c:x val="0"/>
                  <c:y val="-0.3437229437229437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E96-41DB-9B51-4D267F6F84DE}"/>
                </c:ext>
              </c:extLst>
            </c:dLbl>
            <c:dLbl>
              <c:idx val="2"/>
              <c:layout>
                <c:manualLayout>
                  <c:x val="0"/>
                  <c:y val="-0.2354978354978355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E96-41DB-9B51-4D267F6F84DE}"/>
                </c:ext>
              </c:extLst>
            </c:dLbl>
            <c:dLbl>
              <c:idx val="3"/>
              <c:layout>
                <c:manualLayout>
                  <c:x val="0"/>
                  <c:y val="-0.148051948051948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E96-41DB-9B51-4D267F6F84DE}"/>
                </c:ext>
              </c:extLst>
            </c:dLbl>
            <c:dLbl>
              <c:idx val="4"/>
              <c:layout>
                <c:manualLayout>
                  <c:x val="0"/>
                  <c:y val="-0.2147186147186147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E96-41DB-9B51-4D267F6F84DE}"/>
                </c:ext>
              </c:extLst>
            </c:dLbl>
            <c:dLbl>
              <c:idx val="5"/>
              <c:layout>
                <c:manualLayout>
                  <c:x val="0"/>
                  <c:y val="-0.3688311688311688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E96-41DB-9B51-4D267F6F84D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4.0999999999999996</c:v>
                </c:pt>
                <c:pt idx="1">
                  <c:v>5.3</c:v>
                </c:pt>
                <c:pt idx="2">
                  <c:v>3.2</c:v>
                </c:pt>
                <c:pt idx="3">
                  <c:v>1.5</c:v>
                </c:pt>
                <c:pt idx="4">
                  <c:v>2.8</c:v>
                </c:pt>
                <c:pt idx="5">
                  <c:v>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E96-41DB-9B51-4D267F6F84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584174592"/>
        <c:axId val="1"/>
      </c:barChart>
      <c:catAx>
        <c:axId val="5841745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.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5841745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971181556195964E-2"/>
          <c:y val="3.4759358288770054E-2"/>
          <c:w val="0.94005763688760802"/>
          <c:h val="0.9304812834224599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AD0-4D72-B1C6-CC8531F2346C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AD0-4D72-B1C6-CC8531F2346C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10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AD0-4D72-B1C6-CC8531F234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9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971181556195964E-2"/>
          <c:y val="3.4759358288770054E-2"/>
          <c:w val="0.94005763688760802"/>
          <c:h val="0.9304812834224599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39A-4F01-8CFF-49087C93A6EC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39A-4F01-8CFF-49087C93A6EC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80</c:v>
                </c:pt>
                <c:pt idx="1">
                  <c:v>19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39A-4F01-8CFF-49087C93A6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36"/>
        <c:holeSize val="9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971181556195964E-2"/>
          <c:y val="3.4759358288770054E-2"/>
          <c:w val="0.94005763688760802"/>
          <c:h val="0.9304812834224599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CCC-4D7B-A93A-E6D62AC9FA1A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CCC-4D7B-A93A-E6D62AC9FA1A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2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CC-4D7B-A93A-E6D62AC9FA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44"/>
        <c:holeSize val="9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971181556195964E-2"/>
          <c:y val="3.4759358288770054E-2"/>
          <c:w val="0.94005763688760802"/>
          <c:h val="0.9304812834224599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792-4923-9E43-48D79275C655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792-4923-9E43-48D79275C655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2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792-4923-9E43-48D79275C6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44"/>
        <c:holeSize val="90"/>
      </c:doughnutChart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en-GB" dirty="0"/>
          </a:p>
        </p:txBody>
      </p:sp>
      <p:sp>
        <p:nvSpPr>
          <p:cNvPr id="4" name="Slide Image Placeholder 3"/>
          <p:cNvSpPr>
            <a:spLocks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GB"/>
          </a:p>
        </p:txBody>
      </p:sp>
      <p:sp>
        <p:nvSpPr>
          <p:cNvPr id="6" name="Footer Placeholder 5"/>
          <p:cNvSpPr>
            <a:spLocks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72869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28808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67983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/>
          </p:cNvSpPr>
          <p:nvPr>
            <p:ph type="dt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3815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98953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C7F407-E072-89D0-7315-E43B985037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C07377-CE36-9239-0D96-5249ADC66389}"/>
              </a:ext>
            </a:extLst>
          </p:cNvPr>
          <p:cNvSpPr>
            <a:spLocks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BC7D10-1C4B-0FFC-398E-07A2495AEFDA}"/>
              </a:ext>
            </a:extLst>
          </p:cNvPr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0A8C0E-0556-E904-73C4-3A742EC08F0F}"/>
              </a:ext>
            </a:extLst>
          </p:cNvPr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90857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95131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79584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04831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9428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6431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sz="1200" b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70031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39194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DFD1FE3-FAC2-F02B-6BBB-E774A6AA789D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6323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FD1FE3-FAC2-F02B-6BBB-E774A6AA7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23C7D7B-BA94-D5D4-1141-46EF99C8816D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0287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9D894B0-6BDE-53CB-10DA-5FD4B32DE0F7}"/>
              </a:ext>
            </a:extLst>
          </p:cNvPr>
          <p:cNvSpPr/>
          <p:nvPr userDrawn="1"/>
        </p:nvSpPr>
        <p:spPr>
          <a:xfrm>
            <a:off x="0" y="0"/>
            <a:ext cx="10287001" cy="6858000"/>
          </a:xfrm>
          <a:prstGeom prst="rect">
            <a:avLst/>
          </a:prstGeom>
          <a:gradFill flip="none" rotWithShape="1">
            <a:gsLst>
              <a:gs pos="18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5" name="Title 3">
            <a:extLst>
              <a:ext uri="{FF2B5EF4-FFF2-40B4-BE49-F238E27FC236}">
                <a16:creationId xmlns:a16="http://schemas.microsoft.com/office/drawing/2014/main" id="{1C9919F9-6E58-75A1-DD17-89072267B2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4401" y="1730526"/>
            <a:ext cx="5826124" cy="1828193"/>
          </a:xfrm>
        </p:spPr>
        <p:txBody>
          <a:bodyPr vert="horz" anchor="b"/>
          <a:lstStyle>
            <a:lvl1pPr algn="r"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  <a:br>
              <a:rPr lang="en-US"/>
            </a:br>
            <a:r>
              <a:rPr lang="en-US"/>
              <a:t>Arial Bold</a:t>
            </a:r>
            <a:br>
              <a:rPr lang="en-US"/>
            </a:br>
            <a:r>
              <a:rPr lang="en-US"/>
              <a:t>max. 3 lines</a:t>
            </a:r>
          </a:p>
        </p:txBody>
      </p:sp>
      <p:sp>
        <p:nvSpPr>
          <p:cNvPr id="27" name="Text Placeholder 28">
            <a:extLst>
              <a:ext uri="{FF2B5EF4-FFF2-40B4-BE49-F238E27FC236}">
                <a16:creationId xmlns:a16="http://schemas.microsoft.com/office/drawing/2014/main" id="{5F679BF0-0183-3A43-E806-07385A2B6F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94401" y="3873031"/>
            <a:ext cx="5826124" cy="369332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 of the presentation (max. 1 line)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25231C6-C03B-7023-158D-2FACC3F5EF9F}"/>
              </a:ext>
            </a:extLst>
          </p:cNvPr>
          <p:cNvCxnSpPr>
            <a:cxnSpLocks/>
          </p:cNvCxnSpPr>
          <p:nvPr userDrawn="1"/>
        </p:nvCxnSpPr>
        <p:spPr>
          <a:xfrm>
            <a:off x="10848513" y="3715875"/>
            <a:ext cx="972011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6F8F9367-9D94-76AD-E6DA-E75FA55376D6}"/>
              </a:ext>
            </a:extLst>
          </p:cNvPr>
          <p:cNvSpPr txBox="1"/>
          <p:nvPr userDrawn="1"/>
        </p:nvSpPr>
        <p:spPr>
          <a:xfrm>
            <a:off x="9577269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en-US" sz="1000" dirty="0">
                <a:solidFill>
                  <a:schemeClr val="tx1"/>
                </a:solidFill>
              </a:rPr>
              <a:t>© think-cell Software GmbH</a:t>
            </a:r>
          </a:p>
        </p:txBody>
      </p:sp>
      <p:sp>
        <p:nvSpPr>
          <p:cNvPr id="17" name="Graphic 15">
            <a:extLst>
              <a:ext uri="{FF2B5EF4-FFF2-40B4-BE49-F238E27FC236}">
                <a16:creationId xmlns:a16="http://schemas.microsoft.com/office/drawing/2014/main" id="{24D0D072-25BF-1E51-E408-6FA2852D480A}"/>
              </a:ext>
            </a:extLst>
          </p:cNvPr>
          <p:cNvSpPr/>
          <p:nvPr/>
        </p:nvSpPr>
        <p:spPr>
          <a:xfrm>
            <a:off x="5957959" y="4398510"/>
            <a:ext cx="6234041" cy="502770"/>
          </a:xfrm>
          <a:custGeom>
            <a:avLst/>
            <a:gdLst>
              <a:gd name="connsiteX0" fmla="*/ 374047 w 4648581"/>
              <a:gd name="connsiteY0" fmla="*/ 0 h 374904"/>
              <a:gd name="connsiteX1" fmla="*/ 4648581 w 4648581"/>
              <a:gd name="connsiteY1" fmla="*/ 0 h 374904"/>
              <a:gd name="connsiteX2" fmla="*/ 4648581 w 4648581"/>
              <a:gd name="connsiteY2" fmla="*/ 374904 h 374904"/>
              <a:gd name="connsiteX3" fmla="*/ 0 w 4648581"/>
              <a:gd name="connsiteY3" fmla="*/ 374904 h 374904"/>
              <a:gd name="connsiteX4" fmla="*/ 374047 w 4648581"/>
              <a:gd name="connsiteY4" fmla="*/ 0 h 374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581" h="374904">
                <a:moveTo>
                  <a:pt x="374047" y="0"/>
                </a:moveTo>
                <a:lnTo>
                  <a:pt x="4648581" y="0"/>
                </a:lnTo>
                <a:lnTo>
                  <a:pt x="4648581" y="374904"/>
                </a:lnTo>
                <a:lnTo>
                  <a:pt x="0" y="374904"/>
                </a:lnTo>
                <a:lnTo>
                  <a:pt x="374047" y="0"/>
                </a:lnTo>
                <a:close/>
              </a:path>
            </a:pathLst>
          </a:custGeom>
          <a:solidFill>
            <a:srgbClr val="E9163C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215BD923-81A0-3A30-43F1-9EC592E8CB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11950" y="4509681"/>
            <a:ext cx="5108575" cy="276999"/>
          </a:xfrm>
        </p:spPr>
        <p:txBody>
          <a:bodyPr wrap="square" anchor="t">
            <a:spAutoFit/>
          </a:bodyPr>
          <a:lstStyle>
            <a:lvl1pPr marL="0" indent="0" algn="r" rtl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 | Presenter name</a:t>
            </a:r>
          </a:p>
        </p:txBody>
      </p:sp>
    </p:spTree>
    <p:extLst>
      <p:ext uri="{BB962C8B-B14F-4D97-AF65-F5344CB8AC3E}">
        <p14:creationId xmlns:p14="http://schemas.microsoft.com/office/powerpoint/2010/main" val="1773168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Title Gre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004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52E04D90-3979-BF44-EC56-4FF035B82700}"/>
              </a:ext>
            </a:extLst>
          </p:cNvPr>
          <p:cNvSpPr/>
          <p:nvPr userDrawn="1"/>
        </p:nvSpPr>
        <p:spPr>
          <a:xfrm>
            <a:off x="8674100" y="1160463"/>
            <a:ext cx="3517900" cy="569753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B8A7AD26-B5DE-BF0C-FDB1-31C3A0A12C81}"/>
              </a:ext>
            </a:extLst>
          </p:cNvPr>
          <p:cNvSpPr/>
          <p:nvPr userDrawn="1"/>
        </p:nvSpPr>
        <p:spPr>
          <a:xfrm>
            <a:off x="1" y="6462714"/>
            <a:ext cx="8572500" cy="267553"/>
          </a:xfrm>
          <a:custGeom>
            <a:avLst/>
            <a:gdLst>
              <a:gd name="connsiteX0" fmla="*/ 0 w 12191999"/>
              <a:gd name="connsiteY0" fmla="*/ 0 h 267553"/>
              <a:gd name="connsiteX1" fmla="*/ 12191999 w 12191999"/>
              <a:gd name="connsiteY1" fmla="*/ 0 h 267553"/>
              <a:gd name="connsiteX2" fmla="*/ 12191999 w 12191999"/>
              <a:gd name="connsiteY2" fmla="*/ 267553 h 267553"/>
              <a:gd name="connsiteX3" fmla="*/ 0 w 12191999"/>
              <a:gd name="connsiteY3" fmla="*/ 267553 h 267553"/>
              <a:gd name="connsiteX4" fmla="*/ 0 w 12191999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1999" h="267553">
                <a:moveTo>
                  <a:pt x="0" y="0"/>
                </a:moveTo>
                <a:lnTo>
                  <a:pt x="12191999" y="0"/>
                </a:lnTo>
                <a:lnTo>
                  <a:pt x="12191999" y="267553"/>
                </a:lnTo>
                <a:lnTo>
                  <a:pt x="0" y="26755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C91357-0B33-07B3-12FC-F7AF3B41A9AD}"/>
              </a:ext>
            </a:extLst>
          </p:cNvPr>
          <p:cNvSpPr txBox="1"/>
          <p:nvPr userDrawn="1"/>
        </p:nvSpPr>
        <p:spPr>
          <a:xfrm>
            <a:off x="413346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n-US" sz="1000" dirty="0">
                <a:solidFill>
                  <a:schemeClr val="tx1"/>
                </a:solidFill>
              </a:rPr>
              <a:t>© think-cell Software GmbH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0E035F9-7771-11B9-EA59-9A34075CCC19}"/>
              </a:ext>
            </a:extLst>
          </p:cNvPr>
          <p:cNvSpPr/>
          <p:nvPr userDrawn="1"/>
        </p:nvSpPr>
        <p:spPr>
          <a:xfrm>
            <a:off x="7690734" y="6462714"/>
            <a:ext cx="881767" cy="267553"/>
          </a:xfrm>
          <a:custGeom>
            <a:avLst/>
            <a:gdLst>
              <a:gd name="connsiteX0" fmla="*/ 268696 w 881767"/>
              <a:gd name="connsiteY0" fmla="*/ 0 h 267553"/>
              <a:gd name="connsiteX1" fmla="*/ 881767 w 881767"/>
              <a:gd name="connsiteY1" fmla="*/ 0 h 267553"/>
              <a:gd name="connsiteX2" fmla="*/ 881767 w 881767"/>
              <a:gd name="connsiteY2" fmla="*/ 267553 h 267553"/>
              <a:gd name="connsiteX3" fmla="*/ 0 w 881767"/>
              <a:gd name="connsiteY3" fmla="*/ 267553 h 267553"/>
              <a:gd name="connsiteX4" fmla="*/ 268696 w 881767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1767" h="267553">
                <a:moveTo>
                  <a:pt x="268696" y="0"/>
                </a:moveTo>
                <a:lnTo>
                  <a:pt x="881767" y="0"/>
                </a:lnTo>
                <a:lnTo>
                  <a:pt x="881767" y="267553"/>
                </a:lnTo>
                <a:lnTo>
                  <a:pt x="0" y="267553"/>
                </a:lnTo>
                <a:lnTo>
                  <a:pt x="268696" y="0"/>
                </a:lnTo>
                <a:close/>
              </a:path>
            </a:pathLst>
          </a:custGeom>
          <a:solidFill>
            <a:srgbClr val="E9163C"/>
          </a:solidFill>
          <a:ln w="1428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C80CF8-B419-22DE-8C45-C173772B3543}"/>
              </a:ext>
            </a:extLst>
          </p:cNvPr>
          <p:cNvSpPr txBox="1"/>
          <p:nvPr userDrawn="1"/>
        </p:nvSpPr>
        <p:spPr>
          <a:xfrm>
            <a:off x="8047678" y="651972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marL="0" indent="0" algn="r" rtl="0">
              <a:buNone/>
            </a:pPr>
            <a:fld id="{3A7F7DAC-108B-4077-9F7F-9FF8D87D836E}" type="slidenum">
              <a:rPr lang="en-US" sz="1000" smtClean="0">
                <a:solidFill>
                  <a:schemeClr val="bg1"/>
                </a:solidFill>
              </a:rPr>
              <a:pPr marL="0" indent="0" algn="r" rtl="0">
                <a:buNone/>
              </a:pPr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DCA83C7-2E6D-33B7-8BEA-9ABCC2ED6A3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77816" y="350590"/>
            <a:ext cx="1046379" cy="245341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53CFD34-E262-504D-BEA6-F4EA75DC55DB}"/>
              </a:ext>
            </a:extLst>
          </p:cNvPr>
          <p:cNvCxnSpPr>
            <a:cxnSpLocks/>
          </p:cNvCxnSpPr>
          <p:nvPr userDrawn="1"/>
        </p:nvCxnSpPr>
        <p:spPr>
          <a:xfrm>
            <a:off x="10641600" y="310036"/>
            <a:ext cx="0" cy="326450"/>
          </a:xfrm>
          <a:prstGeom prst="line">
            <a:avLst/>
          </a:prstGeom>
          <a:ln w="28575">
            <a:solidFill>
              <a:srgbClr val="E916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50312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6161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86949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Sectio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3B59ED0-3AD6-00C4-87FD-541E42F83695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5983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B59ED0-3AD6-00C4-87FD-541E42F836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645B3E86-8679-3AB5-6F75-AF2D8CDB2DC0}"/>
              </a:ext>
            </a:extLst>
          </p:cNvPr>
          <p:cNvSpPr/>
          <p:nvPr userDrawn="1"/>
        </p:nvSpPr>
        <p:spPr>
          <a:xfrm>
            <a:off x="0" y="4220005"/>
            <a:ext cx="12191999" cy="71913"/>
          </a:xfrm>
          <a:custGeom>
            <a:avLst/>
            <a:gdLst>
              <a:gd name="connsiteX0" fmla="*/ 0 w 12191999"/>
              <a:gd name="connsiteY0" fmla="*/ 0 h 180723"/>
              <a:gd name="connsiteX1" fmla="*/ 12191999 w 12191999"/>
              <a:gd name="connsiteY1" fmla="*/ 0 h 180723"/>
              <a:gd name="connsiteX2" fmla="*/ 12191999 w 12191999"/>
              <a:gd name="connsiteY2" fmla="*/ 180723 h 180723"/>
              <a:gd name="connsiteX3" fmla="*/ 0 w 12191999"/>
              <a:gd name="connsiteY3" fmla="*/ 180723 h 180723"/>
              <a:gd name="connsiteX4" fmla="*/ 0 w 12191999"/>
              <a:gd name="connsiteY4" fmla="*/ 0 h 180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1999" h="180723">
                <a:moveTo>
                  <a:pt x="0" y="0"/>
                </a:moveTo>
                <a:lnTo>
                  <a:pt x="12191999" y="0"/>
                </a:lnTo>
                <a:lnTo>
                  <a:pt x="12191999" y="180723"/>
                </a:lnTo>
                <a:lnTo>
                  <a:pt x="0" y="18072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5DA53B76-E55C-6494-F9DC-9F751A05773A}"/>
              </a:ext>
            </a:extLst>
          </p:cNvPr>
          <p:cNvSpPr/>
          <p:nvPr userDrawn="1"/>
        </p:nvSpPr>
        <p:spPr>
          <a:xfrm>
            <a:off x="11410193" y="4220005"/>
            <a:ext cx="781808" cy="71913"/>
          </a:xfrm>
          <a:custGeom>
            <a:avLst/>
            <a:gdLst>
              <a:gd name="connsiteX0" fmla="*/ 72221 w 781808"/>
              <a:gd name="connsiteY0" fmla="*/ 0 h 71913"/>
              <a:gd name="connsiteX1" fmla="*/ 781808 w 781808"/>
              <a:gd name="connsiteY1" fmla="*/ 0 h 71913"/>
              <a:gd name="connsiteX2" fmla="*/ 781808 w 781808"/>
              <a:gd name="connsiteY2" fmla="*/ 71913 h 71913"/>
              <a:gd name="connsiteX3" fmla="*/ 0 w 781808"/>
              <a:gd name="connsiteY3" fmla="*/ 71913 h 71913"/>
              <a:gd name="connsiteX4" fmla="*/ 72221 w 781808"/>
              <a:gd name="connsiteY4" fmla="*/ 0 h 71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1808" h="71913">
                <a:moveTo>
                  <a:pt x="72221" y="0"/>
                </a:moveTo>
                <a:lnTo>
                  <a:pt x="781808" y="0"/>
                </a:lnTo>
                <a:lnTo>
                  <a:pt x="781808" y="71913"/>
                </a:lnTo>
                <a:lnTo>
                  <a:pt x="0" y="71913"/>
                </a:lnTo>
                <a:lnTo>
                  <a:pt x="72221" y="0"/>
                </a:lnTo>
                <a:close/>
              </a:path>
            </a:pathLst>
          </a:custGeom>
          <a:solidFill>
            <a:srgbClr val="E9163C"/>
          </a:solidFill>
          <a:ln w="1428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2739382-8FD8-A451-409B-ADCDF0EAB085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965199" y="2024538"/>
            <a:ext cx="7845425" cy="2105025"/>
          </a:xfrm>
        </p:spPr>
        <p:txBody>
          <a:bodyPr anchor="b"/>
          <a:lstStyle>
            <a:lvl1pPr marL="0" indent="0" rtl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ection divider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EBD6F64-9835-FD06-6DF9-CC1AB663D2B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77816" y="350590"/>
            <a:ext cx="1046379" cy="245341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B264ACB-5734-8BD1-00DF-78C27F805195}"/>
              </a:ext>
            </a:extLst>
          </p:cNvPr>
          <p:cNvCxnSpPr>
            <a:cxnSpLocks/>
          </p:cNvCxnSpPr>
          <p:nvPr userDrawn="1"/>
        </p:nvCxnSpPr>
        <p:spPr>
          <a:xfrm>
            <a:off x="10641600" y="310036"/>
            <a:ext cx="0" cy="326450"/>
          </a:xfrm>
          <a:prstGeom prst="line">
            <a:avLst/>
          </a:prstGeom>
          <a:ln w="28575">
            <a:solidFill>
              <a:srgbClr val="E916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6067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7CE8A06-CDE7-C9B8-41FC-D53CC3A91B8E}"/>
              </a:ext>
            </a:extLst>
          </p:cNvPr>
          <p:cNvGraphicFramePr>
            <a:graphicFrameLocks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17964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9" imgH="350" progId="TCLayout.ActiveDocument.1">
                  <p:embed/>
                </p:oleObj>
              </mc:Choice>
              <mc:Fallback>
                <p:oleObj name="think-cell Slide" r:id="rId7" imgW="349" imgH="35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CE8A06-CDE7-C9B8-41FC-D53CC3A91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0626BCEA-F163-3FF9-ECB1-21EE3C75D02C}"/>
              </a:ext>
            </a:extLst>
          </p:cNvPr>
          <p:cNvSpPr/>
          <p:nvPr userDrawn="1"/>
        </p:nvSpPr>
        <p:spPr>
          <a:xfrm>
            <a:off x="0" y="6462714"/>
            <a:ext cx="12191999" cy="267553"/>
          </a:xfrm>
          <a:custGeom>
            <a:avLst/>
            <a:gdLst>
              <a:gd name="connsiteX0" fmla="*/ 0 w 12191999"/>
              <a:gd name="connsiteY0" fmla="*/ 0 h 267553"/>
              <a:gd name="connsiteX1" fmla="*/ 12191999 w 12191999"/>
              <a:gd name="connsiteY1" fmla="*/ 0 h 267553"/>
              <a:gd name="connsiteX2" fmla="*/ 12191999 w 12191999"/>
              <a:gd name="connsiteY2" fmla="*/ 267553 h 267553"/>
              <a:gd name="connsiteX3" fmla="*/ 0 w 12191999"/>
              <a:gd name="connsiteY3" fmla="*/ 267553 h 267553"/>
              <a:gd name="connsiteX4" fmla="*/ 0 w 12191999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1999" h="267553">
                <a:moveTo>
                  <a:pt x="0" y="0"/>
                </a:moveTo>
                <a:lnTo>
                  <a:pt x="12191999" y="0"/>
                </a:lnTo>
                <a:lnTo>
                  <a:pt x="12191999" y="267553"/>
                </a:lnTo>
                <a:lnTo>
                  <a:pt x="0" y="26755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CEAD62-5EDF-8B4F-D2F7-FD0F95F6A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58578"/>
            <a:ext cx="10082412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9" y="1557338"/>
            <a:ext cx="11412536" cy="4500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8EEF22F-9FFB-C804-18CB-4323FEC32163}"/>
              </a:ext>
            </a:extLst>
          </p:cNvPr>
          <p:cNvSpPr txBox="1"/>
          <p:nvPr userDrawn="1"/>
        </p:nvSpPr>
        <p:spPr>
          <a:xfrm>
            <a:off x="413346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n-US" sz="1000" dirty="0">
                <a:solidFill>
                  <a:schemeClr val="tx1"/>
                </a:solidFill>
              </a:rPr>
              <a:t>© think-cell Software GmbH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6371387-1DE5-15CB-052E-C6056403E1B2}"/>
              </a:ext>
            </a:extLst>
          </p:cNvPr>
          <p:cNvCxnSpPr>
            <a:cxnSpLocks/>
          </p:cNvCxnSpPr>
          <p:nvPr userDrawn="1"/>
        </p:nvCxnSpPr>
        <p:spPr>
          <a:xfrm>
            <a:off x="10641600" y="310036"/>
            <a:ext cx="0" cy="326450"/>
          </a:xfrm>
          <a:prstGeom prst="line">
            <a:avLst/>
          </a:prstGeom>
          <a:ln w="28575">
            <a:solidFill>
              <a:srgbClr val="E916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8BC8AD84-4C44-2B61-4BE5-B6FFDDADE928}"/>
              </a:ext>
            </a:extLst>
          </p:cNvPr>
          <p:cNvPicPr>
            <a:picLocks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7739" y="350590"/>
            <a:ext cx="1046533" cy="245341"/>
          </a:xfrm>
          <a:prstGeom prst="rect">
            <a:avLst/>
          </a:prstGeom>
        </p:spPr>
      </p:pic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D6F422E-B0A6-8E5E-D866-1DBD9FEE1431}"/>
              </a:ext>
            </a:extLst>
          </p:cNvPr>
          <p:cNvSpPr/>
          <p:nvPr userDrawn="1"/>
        </p:nvSpPr>
        <p:spPr>
          <a:xfrm>
            <a:off x="11310234" y="6462714"/>
            <a:ext cx="881767" cy="267553"/>
          </a:xfrm>
          <a:custGeom>
            <a:avLst/>
            <a:gdLst>
              <a:gd name="connsiteX0" fmla="*/ 268696 w 881767"/>
              <a:gd name="connsiteY0" fmla="*/ 0 h 267553"/>
              <a:gd name="connsiteX1" fmla="*/ 881767 w 881767"/>
              <a:gd name="connsiteY1" fmla="*/ 0 h 267553"/>
              <a:gd name="connsiteX2" fmla="*/ 881767 w 881767"/>
              <a:gd name="connsiteY2" fmla="*/ 267553 h 267553"/>
              <a:gd name="connsiteX3" fmla="*/ 0 w 881767"/>
              <a:gd name="connsiteY3" fmla="*/ 267553 h 267553"/>
              <a:gd name="connsiteX4" fmla="*/ 268696 w 881767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1767" h="267553">
                <a:moveTo>
                  <a:pt x="268696" y="0"/>
                </a:moveTo>
                <a:lnTo>
                  <a:pt x="881767" y="0"/>
                </a:lnTo>
                <a:lnTo>
                  <a:pt x="881767" y="267553"/>
                </a:lnTo>
                <a:lnTo>
                  <a:pt x="0" y="267553"/>
                </a:lnTo>
                <a:lnTo>
                  <a:pt x="268696" y="0"/>
                </a:lnTo>
                <a:close/>
              </a:path>
            </a:pathLst>
          </a:custGeom>
          <a:solidFill>
            <a:srgbClr val="E9163C"/>
          </a:solidFill>
          <a:ln w="1428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dirty="0"/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D2AF90D4-FC1C-E61D-CA1D-7C7ABCCF16BA}"/>
              </a:ext>
            </a:extLst>
          </p:cNvPr>
          <p:cNvSpPr txBox="1"/>
          <p:nvPr userDrawn="1"/>
        </p:nvSpPr>
        <p:spPr>
          <a:xfrm>
            <a:off x="11667178" y="651972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marL="0" indent="0" algn="r" rtl="0">
              <a:buNone/>
            </a:pPr>
            <a:fld id="{3A7F7DAC-108B-4077-9F7F-9FF8D87D836E}" type="slidenum">
              <a:rPr lang="en-US" sz="1000" smtClean="0">
                <a:solidFill>
                  <a:schemeClr val="bg1"/>
                </a:solidFill>
              </a:rPr>
              <a:pPr marL="0" indent="0" algn="r" rtl="0">
                <a:buNone/>
              </a:pPr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128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6" r:id="rId3"/>
    <p:sldLayoutId id="2147483679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38138" indent="-16033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96888" indent="-1666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7388" indent="-1905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71538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57">
          <p15:clr>
            <a:srgbClr val="F26B43"/>
          </p15:clr>
        </p15:guide>
        <p15:guide id="3" pos="7446">
          <p15:clr>
            <a:srgbClr val="F26B43"/>
          </p15:clr>
        </p15:guide>
        <p15:guide id="5" orient="horz" pos="3816">
          <p15:clr>
            <a:srgbClr val="F26B43"/>
          </p15:clr>
        </p15:guide>
        <p15:guide id="6" orient="horz" pos="731">
          <p15:clr>
            <a:srgbClr val="F26B43"/>
          </p15:clr>
        </p15:guide>
        <p15:guide id="8" pos="3840">
          <p15:clr>
            <a:srgbClr val="F26B43"/>
          </p15:clr>
        </p15:guide>
        <p15:guide id="9" orient="horz" pos="23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90.xml"/><Relationship Id="rId21" Type="http://schemas.openxmlformats.org/officeDocument/2006/relationships/tags" Target="../tags/tag85.xml"/><Relationship Id="rId42" Type="http://schemas.openxmlformats.org/officeDocument/2006/relationships/tags" Target="../tags/tag106.xml"/><Relationship Id="rId47" Type="http://schemas.openxmlformats.org/officeDocument/2006/relationships/tags" Target="../tags/tag111.xml"/><Relationship Id="rId63" Type="http://schemas.openxmlformats.org/officeDocument/2006/relationships/tags" Target="../tags/tag127.xml"/><Relationship Id="rId68" Type="http://schemas.openxmlformats.org/officeDocument/2006/relationships/tags" Target="../tags/tag132.xml"/><Relationship Id="rId84" Type="http://schemas.openxmlformats.org/officeDocument/2006/relationships/image" Target="../media/image45.svg"/><Relationship Id="rId16" Type="http://schemas.openxmlformats.org/officeDocument/2006/relationships/tags" Target="../tags/tag80.xml"/><Relationship Id="rId11" Type="http://schemas.openxmlformats.org/officeDocument/2006/relationships/tags" Target="../tags/tag75.xml"/><Relationship Id="rId32" Type="http://schemas.openxmlformats.org/officeDocument/2006/relationships/tags" Target="../tags/tag96.xml"/><Relationship Id="rId37" Type="http://schemas.openxmlformats.org/officeDocument/2006/relationships/tags" Target="../tags/tag101.xml"/><Relationship Id="rId53" Type="http://schemas.openxmlformats.org/officeDocument/2006/relationships/tags" Target="../tags/tag117.xml"/><Relationship Id="rId58" Type="http://schemas.openxmlformats.org/officeDocument/2006/relationships/tags" Target="../tags/tag122.xml"/><Relationship Id="rId74" Type="http://schemas.openxmlformats.org/officeDocument/2006/relationships/tags" Target="../tags/tag138.xml"/><Relationship Id="rId79" Type="http://schemas.openxmlformats.org/officeDocument/2006/relationships/image" Target="../media/image42.png"/><Relationship Id="rId5" Type="http://schemas.openxmlformats.org/officeDocument/2006/relationships/tags" Target="../tags/tag69.xml"/><Relationship Id="rId61" Type="http://schemas.openxmlformats.org/officeDocument/2006/relationships/tags" Target="../tags/tag125.xml"/><Relationship Id="rId82" Type="http://schemas.openxmlformats.org/officeDocument/2006/relationships/image" Target="../media/image27.svg"/><Relationship Id="rId19" Type="http://schemas.openxmlformats.org/officeDocument/2006/relationships/tags" Target="../tags/tag83.xml"/><Relationship Id="rId14" Type="http://schemas.openxmlformats.org/officeDocument/2006/relationships/tags" Target="../tags/tag78.xml"/><Relationship Id="rId22" Type="http://schemas.openxmlformats.org/officeDocument/2006/relationships/tags" Target="../tags/tag86.xml"/><Relationship Id="rId27" Type="http://schemas.openxmlformats.org/officeDocument/2006/relationships/tags" Target="../tags/tag91.xml"/><Relationship Id="rId30" Type="http://schemas.openxmlformats.org/officeDocument/2006/relationships/tags" Target="../tags/tag94.xml"/><Relationship Id="rId35" Type="http://schemas.openxmlformats.org/officeDocument/2006/relationships/tags" Target="../tags/tag99.xml"/><Relationship Id="rId43" Type="http://schemas.openxmlformats.org/officeDocument/2006/relationships/tags" Target="../tags/tag107.xml"/><Relationship Id="rId48" Type="http://schemas.openxmlformats.org/officeDocument/2006/relationships/tags" Target="../tags/tag112.xml"/><Relationship Id="rId56" Type="http://schemas.openxmlformats.org/officeDocument/2006/relationships/tags" Target="../tags/tag120.xml"/><Relationship Id="rId64" Type="http://schemas.openxmlformats.org/officeDocument/2006/relationships/tags" Target="../tags/tag128.xml"/><Relationship Id="rId69" Type="http://schemas.openxmlformats.org/officeDocument/2006/relationships/tags" Target="../tags/tag133.xml"/><Relationship Id="rId77" Type="http://schemas.openxmlformats.org/officeDocument/2006/relationships/oleObject" Target="../embeddings/oleObject15.bin"/><Relationship Id="rId8" Type="http://schemas.openxmlformats.org/officeDocument/2006/relationships/tags" Target="../tags/tag72.xml"/><Relationship Id="rId51" Type="http://schemas.openxmlformats.org/officeDocument/2006/relationships/tags" Target="../tags/tag115.xml"/><Relationship Id="rId72" Type="http://schemas.openxmlformats.org/officeDocument/2006/relationships/tags" Target="../tags/tag136.xml"/><Relationship Id="rId80" Type="http://schemas.openxmlformats.org/officeDocument/2006/relationships/image" Target="../media/image43.svg"/><Relationship Id="rId3" Type="http://schemas.openxmlformats.org/officeDocument/2006/relationships/tags" Target="../tags/tag67.xml"/><Relationship Id="rId12" Type="http://schemas.openxmlformats.org/officeDocument/2006/relationships/tags" Target="../tags/tag76.xml"/><Relationship Id="rId17" Type="http://schemas.openxmlformats.org/officeDocument/2006/relationships/tags" Target="../tags/tag81.xml"/><Relationship Id="rId25" Type="http://schemas.openxmlformats.org/officeDocument/2006/relationships/tags" Target="../tags/tag89.xml"/><Relationship Id="rId33" Type="http://schemas.openxmlformats.org/officeDocument/2006/relationships/tags" Target="../tags/tag97.xml"/><Relationship Id="rId38" Type="http://schemas.openxmlformats.org/officeDocument/2006/relationships/tags" Target="../tags/tag102.xml"/><Relationship Id="rId46" Type="http://schemas.openxmlformats.org/officeDocument/2006/relationships/tags" Target="../tags/tag110.xml"/><Relationship Id="rId59" Type="http://schemas.openxmlformats.org/officeDocument/2006/relationships/tags" Target="../tags/tag123.xml"/><Relationship Id="rId67" Type="http://schemas.openxmlformats.org/officeDocument/2006/relationships/tags" Target="../tags/tag131.xml"/><Relationship Id="rId20" Type="http://schemas.openxmlformats.org/officeDocument/2006/relationships/tags" Target="../tags/tag84.xml"/><Relationship Id="rId41" Type="http://schemas.openxmlformats.org/officeDocument/2006/relationships/tags" Target="../tags/tag105.xml"/><Relationship Id="rId54" Type="http://schemas.openxmlformats.org/officeDocument/2006/relationships/tags" Target="../tags/tag118.xml"/><Relationship Id="rId62" Type="http://schemas.openxmlformats.org/officeDocument/2006/relationships/tags" Target="../tags/tag126.xml"/><Relationship Id="rId70" Type="http://schemas.openxmlformats.org/officeDocument/2006/relationships/tags" Target="../tags/tag134.xml"/><Relationship Id="rId75" Type="http://schemas.openxmlformats.org/officeDocument/2006/relationships/slideLayout" Target="../slideLayouts/slideLayout3.xml"/><Relationship Id="rId83" Type="http://schemas.openxmlformats.org/officeDocument/2006/relationships/image" Target="../media/image44.png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5" Type="http://schemas.openxmlformats.org/officeDocument/2006/relationships/tags" Target="../tags/tag79.xml"/><Relationship Id="rId23" Type="http://schemas.openxmlformats.org/officeDocument/2006/relationships/tags" Target="../tags/tag87.xml"/><Relationship Id="rId28" Type="http://schemas.openxmlformats.org/officeDocument/2006/relationships/tags" Target="../tags/tag92.xml"/><Relationship Id="rId36" Type="http://schemas.openxmlformats.org/officeDocument/2006/relationships/tags" Target="../tags/tag100.xml"/><Relationship Id="rId49" Type="http://schemas.openxmlformats.org/officeDocument/2006/relationships/tags" Target="../tags/tag113.xml"/><Relationship Id="rId57" Type="http://schemas.openxmlformats.org/officeDocument/2006/relationships/tags" Target="../tags/tag121.xml"/><Relationship Id="rId10" Type="http://schemas.openxmlformats.org/officeDocument/2006/relationships/tags" Target="../tags/tag74.xml"/><Relationship Id="rId31" Type="http://schemas.openxmlformats.org/officeDocument/2006/relationships/tags" Target="../tags/tag95.xml"/><Relationship Id="rId44" Type="http://schemas.openxmlformats.org/officeDocument/2006/relationships/tags" Target="../tags/tag108.xml"/><Relationship Id="rId52" Type="http://schemas.openxmlformats.org/officeDocument/2006/relationships/tags" Target="../tags/tag116.xml"/><Relationship Id="rId60" Type="http://schemas.openxmlformats.org/officeDocument/2006/relationships/tags" Target="../tags/tag124.xml"/><Relationship Id="rId65" Type="http://schemas.openxmlformats.org/officeDocument/2006/relationships/tags" Target="../tags/tag129.xml"/><Relationship Id="rId73" Type="http://schemas.openxmlformats.org/officeDocument/2006/relationships/tags" Target="../tags/tag137.xml"/><Relationship Id="rId78" Type="http://schemas.openxmlformats.org/officeDocument/2006/relationships/image" Target="../media/image1.emf"/><Relationship Id="rId81" Type="http://schemas.openxmlformats.org/officeDocument/2006/relationships/image" Target="../media/image26.png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3" Type="http://schemas.openxmlformats.org/officeDocument/2006/relationships/tags" Target="../tags/tag77.xml"/><Relationship Id="rId18" Type="http://schemas.openxmlformats.org/officeDocument/2006/relationships/tags" Target="../tags/tag82.xml"/><Relationship Id="rId39" Type="http://schemas.openxmlformats.org/officeDocument/2006/relationships/tags" Target="../tags/tag103.xml"/><Relationship Id="rId34" Type="http://schemas.openxmlformats.org/officeDocument/2006/relationships/tags" Target="../tags/tag98.xml"/><Relationship Id="rId50" Type="http://schemas.openxmlformats.org/officeDocument/2006/relationships/tags" Target="../tags/tag114.xml"/><Relationship Id="rId55" Type="http://schemas.openxmlformats.org/officeDocument/2006/relationships/tags" Target="../tags/tag119.xml"/><Relationship Id="rId76" Type="http://schemas.openxmlformats.org/officeDocument/2006/relationships/notesSlide" Target="../notesSlides/notesSlide10.xml"/><Relationship Id="rId7" Type="http://schemas.openxmlformats.org/officeDocument/2006/relationships/tags" Target="../tags/tag71.xml"/><Relationship Id="rId71" Type="http://schemas.openxmlformats.org/officeDocument/2006/relationships/tags" Target="../tags/tag135.xml"/><Relationship Id="rId2" Type="http://schemas.openxmlformats.org/officeDocument/2006/relationships/tags" Target="../tags/tag66.xml"/><Relationship Id="rId29" Type="http://schemas.openxmlformats.org/officeDocument/2006/relationships/tags" Target="../tags/tag93.xml"/><Relationship Id="rId24" Type="http://schemas.openxmlformats.org/officeDocument/2006/relationships/tags" Target="../tags/tag88.xml"/><Relationship Id="rId40" Type="http://schemas.openxmlformats.org/officeDocument/2006/relationships/tags" Target="../tags/tag104.xml"/><Relationship Id="rId45" Type="http://schemas.openxmlformats.org/officeDocument/2006/relationships/tags" Target="../tags/tag109.xml"/><Relationship Id="rId66" Type="http://schemas.openxmlformats.org/officeDocument/2006/relationships/tags" Target="../tags/tag13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tags" Target="../tags/tag151.xml"/><Relationship Id="rId18" Type="http://schemas.openxmlformats.org/officeDocument/2006/relationships/notesSlide" Target="../notesSlides/notesSlide11.xml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12" Type="http://schemas.openxmlformats.org/officeDocument/2006/relationships/tags" Target="../tags/tag150.xml"/><Relationship Id="rId17" Type="http://schemas.openxmlformats.org/officeDocument/2006/relationships/slideLayout" Target="../slideLayouts/slideLayout3.xml"/><Relationship Id="rId2" Type="http://schemas.openxmlformats.org/officeDocument/2006/relationships/tags" Target="../tags/tag140.xml"/><Relationship Id="rId16" Type="http://schemas.openxmlformats.org/officeDocument/2006/relationships/tags" Target="../tags/tag154.xml"/><Relationship Id="rId20" Type="http://schemas.openxmlformats.org/officeDocument/2006/relationships/image" Target="../media/image11.emf"/><Relationship Id="rId1" Type="http://schemas.openxmlformats.org/officeDocument/2006/relationships/tags" Target="../tags/tag139.xml"/><Relationship Id="rId6" Type="http://schemas.openxmlformats.org/officeDocument/2006/relationships/tags" Target="../tags/tag144.xml"/><Relationship Id="rId11" Type="http://schemas.openxmlformats.org/officeDocument/2006/relationships/tags" Target="../tags/tag149.xml"/><Relationship Id="rId5" Type="http://schemas.openxmlformats.org/officeDocument/2006/relationships/tags" Target="../tags/tag143.xml"/><Relationship Id="rId15" Type="http://schemas.openxmlformats.org/officeDocument/2006/relationships/tags" Target="../tags/tag153.xml"/><Relationship Id="rId10" Type="http://schemas.openxmlformats.org/officeDocument/2006/relationships/tags" Target="../tags/tag148.xml"/><Relationship Id="rId19" Type="http://schemas.openxmlformats.org/officeDocument/2006/relationships/oleObject" Target="../embeddings/oleObject16.bin"/><Relationship Id="rId4" Type="http://schemas.openxmlformats.org/officeDocument/2006/relationships/tags" Target="../tags/tag142.xml"/><Relationship Id="rId9" Type="http://schemas.openxmlformats.org/officeDocument/2006/relationships/tags" Target="../tags/tag147.xml"/><Relationship Id="rId14" Type="http://schemas.openxmlformats.org/officeDocument/2006/relationships/tags" Target="../tags/tag15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10" Type="http://schemas.openxmlformats.org/officeDocument/2006/relationships/hyperlink" Target="https://server.think-cell.com/portal/en/trial.srf?utm_source=think-cell&amp;utm_medium=templates&amp;utm_campaign=template-en-swot-072025&amp;utm_term=swot-072025&amp;utm_content=swot-072025" TargetMode="External"/><Relationship Id="rId4" Type="http://schemas.openxmlformats.org/officeDocument/2006/relationships/oleObject" Target="../embeddings/oleObject7.bin"/><Relationship Id="rId9" Type="http://schemas.openxmlformats.org/officeDocument/2006/relationships/hyperlink" Target="https://server.think-cell.com/portal/en/trial.srf?utm_source=think-cell&amp;utm_medium=templates&amp;utm_campaign=template-en-project-022026&amp;utm_term=project-022026&amp;utm_content=project-022026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notesSlide" Target="../notesSlides/notesSlide3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7.emf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3.svg"/><Relationship Id="rId12" Type="http://schemas.openxmlformats.org/officeDocument/2006/relationships/image" Target="../media/image18.png"/><Relationship Id="rId17" Type="http://schemas.openxmlformats.org/officeDocument/2006/relationships/image" Target="../media/image23.sv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22.png"/><Relationship Id="rId1" Type="http://schemas.openxmlformats.org/officeDocument/2006/relationships/tags" Target="../tags/tag20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11.emf"/><Relationship Id="rId15" Type="http://schemas.openxmlformats.org/officeDocument/2006/relationships/image" Target="../media/image21.svg"/><Relationship Id="rId10" Type="http://schemas.openxmlformats.org/officeDocument/2006/relationships/image" Target="../media/image16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5.svg"/><Relationship Id="rId1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image" Target="../media/image25.svg"/><Relationship Id="rId3" Type="http://schemas.openxmlformats.org/officeDocument/2006/relationships/tags" Target="../tags/tag23.xml"/><Relationship Id="rId21" Type="http://schemas.openxmlformats.org/officeDocument/2006/relationships/notesSlide" Target="../notesSlides/notesSlide5.xml"/><Relationship Id="rId34" Type="http://schemas.openxmlformats.org/officeDocument/2006/relationships/chart" Target="../charts/chart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image" Target="../media/image24.png"/><Relationship Id="rId33" Type="http://schemas.openxmlformats.org/officeDocument/2006/relationships/chart" Target="../charts/chart2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slideLayout" Target="../slideLayouts/slideLayout3.xml"/><Relationship Id="rId29" Type="http://schemas.openxmlformats.org/officeDocument/2006/relationships/image" Target="../media/image28.png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chart" Target="../charts/chart1.xml"/><Relationship Id="rId32" Type="http://schemas.openxmlformats.org/officeDocument/2006/relationships/image" Target="../media/image31.svg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image" Target="../media/image7.emf"/><Relationship Id="rId28" Type="http://schemas.openxmlformats.org/officeDocument/2006/relationships/image" Target="../media/image27.svg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31" Type="http://schemas.openxmlformats.org/officeDocument/2006/relationships/image" Target="../media/image30.png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oleObject" Target="../embeddings/oleObject10.bin"/><Relationship Id="rId27" Type="http://schemas.openxmlformats.org/officeDocument/2006/relationships/image" Target="../media/image26.png"/><Relationship Id="rId30" Type="http://schemas.openxmlformats.org/officeDocument/2006/relationships/image" Target="../media/image29.svg"/><Relationship Id="rId8" Type="http://schemas.openxmlformats.org/officeDocument/2006/relationships/tags" Target="../tags/tag2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chart" Target="../charts/chart4.xml"/><Relationship Id="rId3" Type="http://schemas.openxmlformats.org/officeDocument/2006/relationships/tags" Target="../tags/tag42.xml"/><Relationship Id="rId21" Type="http://schemas.openxmlformats.org/officeDocument/2006/relationships/chart" Target="../charts/chart7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image" Target="../media/image7.emf"/><Relationship Id="rId2" Type="http://schemas.openxmlformats.org/officeDocument/2006/relationships/tags" Target="../tags/tag41.xml"/><Relationship Id="rId16" Type="http://schemas.openxmlformats.org/officeDocument/2006/relationships/oleObject" Target="../embeddings/oleObject11.bin"/><Relationship Id="rId20" Type="http://schemas.openxmlformats.org/officeDocument/2006/relationships/chart" Target="../charts/chart6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5" Type="http://schemas.openxmlformats.org/officeDocument/2006/relationships/tags" Target="../tags/tag44.xml"/><Relationship Id="rId15" Type="http://schemas.openxmlformats.org/officeDocument/2006/relationships/notesSlide" Target="../notesSlides/notesSlide6.xml"/><Relationship Id="rId10" Type="http://schemas.openxmlformats.org/officeDocument/2006/relationships/tags" Target="../tags/tag49.xml"/><Relationship Id="rId19" Type="http://schemas.openxmlformats.org/officeDocument/2006/relationships/chart" Target="../charts/chart5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oleObject" Target="../embeddings/oleObject13.bin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notesSlide" Target="../notesSlides/notesSlide8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58.xml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sv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3.svg"/><Relationship Id="rId12" Type="http://schemas.openxmlformats.org/officeDocument/2006/relationships/image" Target="../media/image3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4.xml"/><Relationship Id="rId6" Type="http://schemas.openxmlformats.org/officeDocument/2006/relationships/image" Target="../media/image32.png"/><Relationship Id="rId11" Type="http://schemas.openxmlformats.org/officeDocument/2006/relationships/image" Target="../media/image37.svg"/><Relationship Id="rId5" Type="http://schemas.openxmlformats.org/officeDocument/2006/relationships/image" Target="../media/image1.emf"/><Relationship Id="rId15" Type="http://schemas.openxmlformats.org/officeDocument/2006/relationships/image" Target="../media/image41.svg"/><Relationship Id="rId10" Type="http://schemas.openxmlformats.org/officeDocument/2006/relationships/image" Target="../media/image36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35.svg"/><Relationship Id="rId14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DB7B5BB-4159-D447-6FC6-2112AD76503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B7B5BB-4159-D447-6FC6-2112AD765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>
            <a:extLst>
              <a:ext uri="{FF2B5EF4-FFF2-40B4-BE49-F238E27FC236}">
                <a16:creationId xmlns:a16="http://schemas.microsoft.com/office/drawing/2014/main" id="{EC9F0D5D-3A30-B569-0EAE-F5B6299A1E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00" y="2949321"/>
            <a:ext cx="8137525" cy="609398"/>
          </a:xfrm>
        </p:spPr>
        <p:txBody>
          <a:bodyPr vert="horz" wrap="square" rIns="0">
            <a:spAutoFit/>
          </a:bodyPr>
          <a:lstStyle/>
          <a:p>
            <a:r>
              <a:rPr lang="en-US" noProof="0" dirty="0"/>
              <a:t>Project planning templat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34ECF9-7B40-081D-F53B-21F58D7E33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94401" y="3873031"/>
            <a:ext cx="5826124" cy="369332"/>
          </a:xfrm>
        </p:spPr>
        <p:txBody>
          <a:bodyPr/>
          <a:lstStyle/>
          <a:p>
            <a:r>
              <a:rPr lang="en-US" dirty="0"/>
              <a:t>Create impactful presentations faster</a:t>
            </a:r>
            <a:endParaRPr lang="en-US" noProof="0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774D7DF-6F49-0C83-EA25-274F8F8969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ink-cell | 202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298030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89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7" imgW="349" imgH="350" progId="TCLayout.ActiveDocument.1">
                  <p:embed/>
                </p:oleObj>
              </mc:Choice>
              <mc:Fallback>
                <p:oleObj name="think-cell Slide" r:id="rId77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>
            <a:spAutoFit/>
          </a:bodyPr>
          <a:lstStyle/>
          <a:p>
            <a:r>
              <a:rPr lang="en-US" dirty="0"/>
              <a:t>Timeline: </a:t>
            </a:r>
            <a:r>
              <a:rPr lang="en-US" altLang="en-US" dirty="0"/>
              <a:t>Gantt</a:t>
            </a:r>
            <a:endParaRPr lang="en-US" dirty="0"/>
          </a:p>
        </p:txBody>
      </p:sp>
      <p:sp>
        <p:nvSpPr>
          <p:cNvPr id="79" name="Rechteck 81">
            <a:extLst>
              <a:ext uri="{FF2B5EF4-FFF2-40B4-BE49-F238E27FC236}">
                <a16:creationId xmlns:a16="http://schemas.microsoft.com/office/drawing/2014/main" id="{336DC19A-5DE6-CAA5-96B7-5AA36E35630F}"/>
              </a:ext>
            </a:extLst>
          </p:cNvPr>
          <p:cNvSpPr>
            <a:spLocks/>
          </p:cNvSpPr>
          <p:nvPr/>
        </p:nvSpPr>
        <p:spPr>
          <a:xfrm>
            <a:off x="422276" y="5068921"/>
            <a:ext cx="3509137" cy="985804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44000" rIns="180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Lorem ipsu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72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Insert your desired tex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Futura"/>
            </a:endParaRPr>
          </a:p>
        </p:txBody>
      </p:sp>
      <p:sp>
        <p:nvSpPr>
          <p:cNvPr id="80" name="Rechteck 82">
            <a:extLst>
              <a:ext uri="{FF2B5EF4-FFF2-40B4-BE49-F238E27FC236}">
                <a16:creationId xmlns:a16="http://schemas.microsoft.com/office/drawing/2014/main" id="{6C83DE36-07D9-8D61-A3E7-DAA0ACE623F8}"/>
              </a:ext>
            </a:extLst>
          </p:cNvPr>
          <p:cNvSpPr>
            <a:spLocks/>
          </p:cNvSpPr>
          <p:nvPr/>
        </p:nvSpPr>
        <p:spPr>
          <a:xfrm>
            <a:off x="4363412" y="5068921"/>
            <a:ext cx="3509137" cy="985804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44000" rIns="180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Lorem ipsu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72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Insert your desired text</a:t>
            </a:r>
          </a:p>
        </p:txBody>
      </p:sp>
      <p:sp>
        <p:nvSpPr>
          <p:cNvPr id="81" name="Rechteck 83">
            <a:extLst>
              <a:ext uri="{FF2B5EF4-FFF2-40B4-BE49-F238E27FC236}">
                <a16:creationId xmlns:a16="http://schemas.microsoft.com/office/drawing/2014/main" id="{6ACE365A-F807-0C2F-E7DE-6DAE3BEF57C4}"/>
              </a:ext>
            </a:extLst>
          </p:cNvPr>
          <p:cNvSpPr>
            <a:spLocks/>
          </p:cNvSpPr>
          <p:nvPr/>
        </p:nvSpPr>
        <p:spPr>
          <a:xfrm>
            <a:off x="8304550" y="5068921"/>
            <a:ext cx="3509137" cy="985804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44000" rIns="180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Lorem ipsu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72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Insert your desired text</a:t>
            </a:r>
          </a:p>
        </p:txBody>
      </p:sp>
      <p:pic>
        <p:nvPicPr>
          <p:cNvPr id="82" name="Grafik 84">
            <a:extLst>
              <a:ext uri="{FF2B5EF4-FFF2-40B4-BE49-F238E27FC236}">
                <a16:creationId xmlns:a16="http://schemas.microsoft.com/office/drawing/2014/main" id="{194149CC-4238-4A8C-9C55-9B2B688666E4}"/>
              </a:ext>
            </a:extLst>
          </p:cNvPr>
          <p:cNvPicPr>
            <a:picLocks noChangeAspect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0"/>
              </a:ext>
            </a:extLst>
          </a:blip>
          <a:stretch>
            <a:fillRect/>
          </a:stretch>
        </p:blipFill>
        <p:spPr>
          <a:xfrm>
            <a:off x="3073780" y="5249740"/>
            <a:ext cx="624166" cy="624166"/>
          </a:xfrm>
          <a:prstGeom prst="rect">
            <a:avLst/>
          </a:prstGeom>
        </p:spPr>
      </p:pic>
      <p:pic>
        <p:nvPicPr>
          <p:cNvPr id="83" name="Grafik 85">
            <a:extLst>
              <a:ext uri="{FF2B5EF4-FFF2-40B4-BE49-F238E27FC236}">
                <a16:creationId xmlns:a16="http://schemas.microsoft.com/office/drawing/2014/main" id="{424BD534-8B31-7643-96D6-1CAE95890862}"/>
              </a:ext>
            </a:extLst>
          </p:cNvPr>
          <p:cNvPicPr>
            <a:picLocks noChangeAspect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2"/>
              </a:ext>
            </a:extLst>
          </a:blip>
          <a:stretch>
            <a:fillRect/>
          </a:stretch>
        </p:blipFill>
        <p:spPr>
          <a:xfrm>
            <a:off x="7014915" y="5249740"/>
            <a:ext cx="624166" cy="624166"/>
          </a:xfrm>
          <a:prstGeom prst="rect">
            <a:avLst/>
          </a:prstGeom>
        </p:spPr>
      </p:pic>
      <p:pic>
        <p:nvPicPr>
          <p:cNvPr id="84" name="Grafik 86">
            <a:extLst>
              <a:ext uri="{FF2B5EF4-FFF2-40B4-BE49-F238E27FC236}">
                <a16:creationId xmlns:a16="http://schemas.microsoft.com/office/drawing/2014/main" id="{F2FA71A1-0898-6896-FA0E-4ED6FB66E84F}"/>
              </a:ext>
            </a:extLst>
          </p:cNvPr>
          <p:cNvPicPr>
            <a:picLocks noChangeAspect="1"/>
          </p:cNvPicPr>
          <p:nvPr/>
        </p:nvPicPr>
        <p:blipFill>
          <a:blip r:embed="rId8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4"/>
              </a:ext>
            </a:extLst>
          </a:blip>
          <a:stretch>
            <a:fillRect/>
          </a:stretch>
        </p:blipFill>
        <p:spPr>
          <a:xfrm>
            <a:off x="10956054" y="5249740"/>
            <a:ext cx="624166" cy="624166"/>
          </a:xfrm>
          <a:prstGeom prst="rect">
            <a:avLst/>
          </a:prstGeom>
        </p:spPr>
      </p:pic>
      <p:sp>
        <p:nvSpPr>
          <p:cNvPr id="86" name="Rectangle 520">
            <a:extLst>
              <a:ext uri="{FF2B5EF4-FFF2-40B4-BE49-F238E27FC236}">
                <a16:creationId xmlns:a16="http://schemas.microsoft.com/office/drawing/2014/main" id="{A00CDA47-4C60-394E-CA37-1AEE3DF64E34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407988" y="2009775"/>
            <a:ext cx="11406188" cy="31591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B859B3B6-4103-4FE4-BFA7-82FCC42ADA3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07988" y="3090863"/>
            <a:ext cx="11406188" cy="31115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8" name="Rectangle 519">
            <a:extLst>
              <a:ext uri="{FF2B5EF4-FFF2-40B4-BE49-F238E27FC236}">
                <a16:creationId xmlns:a16="http://schemas.microsoft.com/office/drawing/2014/main" id="{48E1ACA2-6256-643B-8715-40DA0681B740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07988" y="2760663"/>
            <a:ext cx="11406188" cy="3302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059650B8-9664-A4EF-8F4B-B62C736FA37D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4087812" y="2009775"/>
            <a:ext cx="2014538" cy="2346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297113" y="1562100"/>
            <a:ext cx="4029075" cy="223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1137A98-8F48-495E-99AA-853BF17AA493}" type="datetime'''''''''''''''''''''''''''''''''Q''''''''''''''''''''1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Q1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6326188" y="1562100"/>
            <a:ext cx="4073525" cy="223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DE082AA-A626-4FD0-AFC5-0D2E61BA57C2}" type="datetime'''''''''''''''''''''''''''Q''''''''''''''''''''''2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Q2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2297113" y="1785938"/>
            <a:ext cx="1387475" cy="223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11AC48D-9171-472F-B774-F73DBCCEDDED}" type="datetime'''''''''''''''''''J''''''''''''''''a''''n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an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684588" y="1785938"/>
            <a:ext cx="1254125" cy="223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7004A97-CB7E-48F5-B051-C41C85BB21ED}" type="datetime'''''''''''''''''F''''''''''''''''''''''''''''''''''''''eb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Feb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938713" y="1785938"/>
            <a:ext cx="1387475" cy="223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6974033-A761-4D3D-A95A-66F017407444}" type="datetime'''''''''''''''''''''''M''''''''''''''''a''''''''''r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r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6326188" y="1785938"/>
            <a:ext cx="1343025" cy="223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C8FBA17-C83F-4E31-8246-E53131B29EAE}" type="datetime'''''''''''''A''''p''''''''''r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pr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7669213" y="1785938"/>
            <a:ext cx="1387475" cy="223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E7F766D-C756-451A-A651-ED0A559382AC}" type="datetime'''''''''''M''''''''''''a''''''''''''''''''''''''''y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y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9056688" y="1785938"/>
            <a:ext cx="1343025" cy="223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5C1B552-E2F9-4B2C-B4E9-363579CFA487}" type="datetime'''J''''''''''''''''''''''''''u''''''''''''''''n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un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cxnSp>
        <p:nvCxnSpPr>
          <p:cNvPr id="99" name="Straight Connector 557">
            <a:extLst>
              <a:ext uri="{FF2B5EF4-FFF2-40B4-BE49-F238E27FC236}">
                <a16:creationId xmlns:a16="http://schemas.microsoft.com/office/drawing/2014/main" id="{87A44C98-189D-635A-66F2-E7FF00C366A8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>
            <a:off x="2297113" y="2009775"/>
            <a:ext cx="0" cy="23463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03">
            <a:extLst>
              <a:ext uri="{FF2B5EF4-FFF2-40B4-BE49-F238E27FC236}">
                <a16:creationId xmlns:a16="http://schemas.microsoft.com/office/drawing/2014/main" id="{F5428E0A-71F9-71C6-C16C-D42B6013DD0C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>
            <a:off x="6326188" y="2009775"/>
            <a:ext cx="0" cy="23463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0E3ED24-C8F6-34C7-FCF1-8D278EDF287B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11814175" y="2009775"/>
            <a:ext cx="0" cy="23463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EB00A30-B3A2-04E5-7ABF-5FA20097BC36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407988" y="2009775"/>
            <a:ext cx="0" cy="23463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Straight Connector 556">
            <a:extLst>
              <a:ext uri="{FF2B5EF4-FFF2-40B4-BE49-F238E27FC236}">
                <a16:creationId xmlns:a16="http://schemas.microsoft.com/office/drawing/2014/main" id="{4103C1DE-CAF3-7831-D627-07575BFEA13A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>
            <a:off x="10399713" y="2009775"/>
            <a:ext cx="0" cy="23463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874">
            <a:extLst>
              <a:ext uri="{FF2B5EF4-FFF2-40B4-BE49-F238E27FC236}">
                <a16:creationId xmlns:a16="http://schemas.microsoft.com/office/drawing/2014/main" id="{93042F72-0CDA-E73D-2293-3F4FD6984DEE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>
            <a:off x="3684588" y="2009775"/>
            <a:ext cx="0" cy="23463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Straight Connector 875">
            <a:extLst>
              <a:ext uri="{FF2B5EF4-FFF2-40B4-BE49-F238E27FC236}">
                <a16:creationId xmlns:a16="http://schemas.microsoft.com/office/drawing/2014/main" id="{47028D10-A185-F8B4-EA44-56C667DED657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>
            <a:off x="4938713" y="2009775"/>
            <a:ext cx="0" cy="23463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Straight Connector 39">
            <a:extLst>
              <a:ext uri="{FF2B5EF4-FFF2-40B4-BE49-F238E27FC236}">
                <a16:creationId xmlns:a16="http://schemas.microsoft.com/office/drawing/2014/main" id="{39F4FC1A-A32F-61CD-6271-DC3E64C7732C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9056688" y="2009775"/>
            <a:ext cx="0" cy="23463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876">
            <a:extLst>
              <a:ext uri="{FF2B5EF4-FFF2-40B4-BE49-F238E27FC236}">
                <a16:creationId xmlns:a16="http://schemas.microsoft.com/office/drawing/2014/main" id="{5E85359C-DC82-2BF4-1B73-0DA7F04C4645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>
            <a:off x="7669213" y="2009775"/>
            <a:ext cx="0" cy="23463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584">
            <a:extLst>
              <a:ext uri="{FF2B5EF4-FFF2-40B4-BE49-F238E27FC236}">
                <a16:creationId xmlns:a16="http://schemas.microsoft.com/office/drawing/2014/main" id="{D91AC1D2-AAC9-8A8C-4E8B-C95832C450C0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>
            <a:off x="407988" y="2760663"/>
            <a:ext cx="11406188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585">
            <a:extLst>
              <a:ext uri="{FF2B5EF4-FFF2-40B4-BE49-F238E27FC236}">
                <a16:creationId xmlns:a16="http://schemas.microsoft.com/office/drawing/2014/main" id="{4CD84132-B794-7E82-510B-70270F09EF10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>
            <a:off x="407988" y="3090863"/>
            <a:ext cx="114061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583">
            <a:extLst>
              <a:ext uri="{FF2B5EF4-FFF2-40B4-BE49-F238E27FC236}">
                <a16:creationId xmlns:a16="http://schemas.microsoft.com/office/drawing/2014/main" id="{D3826D26-B848-79A9-0EE6-E5815F8BB6FE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>
            <a:off x="407988" y="3944938"/>
            <a:ext cx="11406188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41">
            <a:extLst>
              <a:ext uri="{FF2B5EF4-FFF2-40B4-BE49-F238E27FC236}">
                <a16:creationId xmlns:a16="http://schemas.microsoft.com/office/drawing/2014/main" id="{DDB683BF-51FB-D625-DA38-70ED503EA967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gray">
          <a:xfrm>
            <a:off x="8564563" y="2009775"/>
            <a:ext cx="0" cy="2346325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587">
            <a:extLst>
              <a:ext uri="{FF2B5EF4-FFF2-40B4-BE49-F238E27FC236}">
                <a16:creationId xmlns:a16="http://schemas.microsoft.com/office/drawing/2014/main" id="{A1391CC2-CBF2-13C8-2EC7-C378D6ED547D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auto">
          <a:xfrm>
            <a:off x="407988" y="4356100"/>
            <a:ext cx="1140618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588">
            <a:extLst>
              <a:ext uri="{FF2B5EF4-FFF2-40B4-BE49-F238E27FC236}">
                <a16:creationId xmlns:a16="http://schemas.microsoft.com/office/drawing/2014/main" id="{511FD44A-3FA6-B6F0-3C27-1B68520D6AB6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>
            <a:off x="407988" y="2009775"/>
            <a:ext cx="1140618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Arrow: Pentagon 14">
            <a:extLst>
              <a:ext uri="{FF2B5EF4-FFF2-40B4-BE49-F238E27FC236}">
                <a16:creationId xmlns:a16="http://schemas.microsoft.com/office/drawing/2014/main" id="{88B9CAA5-D2D8-BF86-79E6-7D5910FA4BCE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2306638" y="2019300"/>
            <a:ext cx="3124200" cy="265113"/>
          </a:xfrm>
          <a:prstGeom prst="homePlate">
            <a:avLst>
              <a:gd name="adj" fmla="val 17964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5" name="Arrow: Pentagon 22">
            <a:extLst>
              <a:ext uri="{FF2B5EF4-FFF2-40B4-BE49-F238E27FC236}">
                <a16:creationId xmlns:a16="http://schemas.microsoft.com/office/drawing/2014/main" id="{D9D631D0-C596-D75D-7FCD-391B0EAB6ACF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430838" y="2801938"/>
            <a:ext cx="1700213" cy="265113"/>
          </a:xfrm>
          <a:prstGeom prst="homePlate">
            <a:avLst>
              <a:gd name="adj" fmla="val 17964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7" name="Arrow: Pentagon 25">
            <a:extLst>
              <a:ext uri="{FF2B5EF4-FFF2-40B4-BE49-F238E27FC236}">
                <a16:creationId xmlns:a16="http://schemas.microsoft.com/office/drawing/2014/main" id="{8AAC0FAA-EC59-7787-FFC9-362B061C28E8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4176713" y="3424238"/>
            <a:ext cx="2506663" cy="265113"/>
          </a:xfrm>
          <a:prstGeom prst="homePlate">
            <a:avLst>
              <a:gd name="adj" fmla="val 17964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660EF6E-969C-409C-A56E-7E4CA96F45EA}" type="datetime'''1''''''2'''' ''''''''''''''''''F''''e''''''''''''''b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 Feb</a:t>
            </a:fld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- </a:t>
            </a:r>
            <a:fld id="{4CCE1A6A-AD6F-434C-A4EA-AA5AB1633473}" type="datetime'''''''8'''''' ''''''''''''''''''Ap''''''''''''''r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 Apr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6" name="Arrow: Pentagon 23">
            <a:extLst>
              <a:ext uri="{FF2B5EF4-FFF2-40B4-BE49-F238E27FC236}">
                <a16:creationId xmlns:a16="http://schemas.microsoft.com/office/drawing/2014/main" id="{2CAB2968-29F1-A3C5-CE6B-EC8576A5D203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7131050" y="3114675"/>
            <a:ext cx="1433513" cy="265113"/>
          </a:xfrm>
          <a:prstGeom prst="homePlate">
            <a:avLst>
              <a:gd name="adj" fmla="val 17964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8" name="Rectangle 15">
            <a:extLst>
              <a:ext uri="{FF2B5EF4-FFF2-40B4-BE49-F238E27FC236}">
                <a16:creationId xmlns:a16="http://schemas.microsoft.com/office/drawing/2014/main" id="{6FF761EC-2EDB-9067-9291-6AFE39B92449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2609849" y="2379663"/>
            <a:ext cx="2014538" cy="98425"/>
          </a:xfrm>
          <a:prstGeom prst="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6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9" name="Rectangle 18">
            <a:extLst>
              <a:ext uri="{FF2B5EF4-FFF2-40B4-BE49-F238E27FC236}">
                <a16:creationId xmlns:a16="http://schemas.microsoft.com/office/drawing/2014/main" id="{8DCCE98C-8C01-B0EF-1065-F6C09CE1C91E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3863975" y="2595563"/>
            <a:ext cx="984250" cy="984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1" name="Rectangle 26">
            <a:extLst>
              <a:ext uri="{FF2B5EF4-FFF2-40B4-BE49-F238E27FC236}">
                <a16:creationId xmlns:a16="http://schemas.microsoft.com/office/drawing/2014/main" id="{DAA3377C-8969-D5C9-DF8E-EFBA34F0A2E0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8250237" y="3746500"/>
            <a:ext cx="1881188" cy="984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0" name="Rectangle 24">
            <a:extLst>
              <a:ext uri="{FF2B5EF4-FFF2-40B4-BE49-F238E27FC236}">
                <a16:creationId xmlns:a16="http://schemas.microsoft.com/office/drawing/2014/main" id="{B9704E50-91FA-572D-C08E-648CFC9EC588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7937500" y="3506788"/>
            <a:ext cx="627063" cy="984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2" name="Right Bracket 30">
            <a:extLst>
              <a:ext uri="{FF2B5EF4-FFF2-40B4-BE49-F238E27FC236}">
                <a16:creationId xmlns:a16="http://schemas.microsoft.com/office/drawing/2014/main" id="{C64F8EBC-72AF-A211-8A7A-F8B6F8337C92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 rot="5400000">
            <a:off x="5040313" y="3440113"/>
            <a:ext cx="107950" cy="2014538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3" name="Isosceles Triangle 32">
            <a:extLst>
              <a:ext uri="{FF2B5EF4-FFF2-40B4-BE49-F238E27FC236}">
                <a16:creationId xmlns:a16="http://schemas.microsoft.com/office/drawing/2014/main" id="{CB79AC89-D75D-A0F9-8C84-F366542560C7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 rot="10800000">
            <a:off x="4987925" y="4500563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4" name="Isosceles Triangle 37">
            <a:extLst>
              <a:ext uri="{FF2B5EF4-FFF2-40B4-BE49-F238E27FC236}">
                <a16:creationId xmlns:a16="http://schemas.microsoft.com/office/drawing/2014/main" id="{8C17314E-FBD4-D5DF-7E42-93B5AAA0F28F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8507413" y="4022725"/>
            <a:ext cx="114300" cy="114300"/>
          </a:xfrm>
          <a:prstGeom prst="triangle">
            <a:avLst/>
          </a:prstGeom>
          <a:solidFill>
            <a:schemeClr val="accent6"/>
          </a:solidFill>
          <a:ln w="9525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Isosceles Triangle 21">
            <a:extLst>
              <a:ext uri="{FF2B5EF4-FFF2-40B4-BE49-F238E27FC236}">
                <a16:creationId xmlns:a16="http://schemas.microsoft.com/office/drawing/2014/main" id="{CE251696-D475-B060-4EBB-01AE848DF001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6626225" y="4022725"/>
            <a:ext cx="114300" cy="114300"/>
          </a:xfrm>
          <a:prstGeom prst="triangle">
            <a:avLst/>
          </a:prstGeom>
          <a:solidFill>
            <a:schemeClr val="accent6"/>
          </a:solidFill>
          <a:ln w="9525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Isosceles Triangle 16">
            <a:extLst>
              <a:ext uri="{FF2B5EF4-FFF2-40B4-BE49-F238E27FC236}">
                <a16:creationId xmlns:a16="http://schemas.microsoft.com/office/drawing/2014/main" id="{E8A56693-8F54-BC6F-923C-DB078B84FC30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5373688" y="4022725"/>
            <a:ext cx="114300" cy="114300"/>
          </a:xfrm>
          <a:prstGeom prst="triangle">
            <a:avLst/>
          </a:prstGeom>
          <a:solidFill>
            <a:schemeClr val="accent6"/>
          </a:solidFill>
          <a:ln w="9525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9" name="Oval 611">
            <a:extLst>
              <a:ext uri="{FF2B5EF4-FFF2-40B4-BE49-F238E27FC236}">
                <a16:creationId xmlns:a16="http://schemas.microsoft.com/office/drawing/2014/main" id="{B3843135-1D8D-7160-C950-5CAED4D05115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11442700" y="2566988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7" name="Oval 618">
            <a:extLst>
              <a:ext uri="{FF2B5EF4-FFF2-40B4-BE49-F238E27FC236}">
                <a16:creationId xmlns:a16="http://schemas.microsoft.com/office/drawing/2014/main" id="{79B0DC74-6C89-A3ED-337D-C6B56696121B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11442700" y="3717925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2" name="Oval 609">
            <a:extLst>
              <a:ext uri="{FF2B5EF4-FFF2-40B4-BE49-F238E27FC236}">
                <a16:creationId xmlns:a16="http://schemas.microsoft.com/office/drawing/2014/main" id="{550A2069-5226-0B3E-C2AE-19E4049F43E6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11442700" y="2066925"/>
            <a:ext cx="158750" cy="15875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8" name="Oval 617">
            <a:extLst>
              <a:ext uri="{FF2B5EF4-FFF2-40B4-BE49-F238E27FC236}">
                <a16:creationId xmlns:a16="http://schemas.microsoft.com/office/drawing/2014/main" id="{C8EE76F8-E05E-A9EE-6FC4-0879CF51D13E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11442700" y="3471863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1" name="Oval 610">
            <a:extLst>
              <a:ext uri="{FF2B5EF4-FFF2-40B4-BE49-F238E27FC236}">
                <a16:creationId xmlns:a16="http://schemas.microsoft.com/office/drawing/2014/main" id="{61B4B9AF-1C1D-E45E-E607-DDF4BC1BA226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11442700" y="2351088"/>
            <a:ext cx="158750" cy="15875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" name="Oval 616">
            <a:extLst>
              <a:ext uri="{FF2B5EF4-FFF2-40B4-BE49-F238E27FC236}">
                <a16:creationId xmlns:a16="http://schemas.microsoft.com/office/drawing/2014/main" id="{76A87B16-B5DC-FEE5-B8A7-01998A8B0C68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11442700" y="3162300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0" name="Oval 613">
            <a:extLst>
              <a:ext uri="{FF2B5EF4-FFF2-40B4-BE49-F238E27FC236}">
                <a16:creationId xmlns:a16="http://schemas.microsoft.com/office/drawing/2014/main" id="{4FDFCEFD-269A-4CAD-BF71-056493399531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11442700" y="2849563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8" name="Rectangle 27">
            <a:extLst>
              <a:ext uri="{FF2B5EF4-FFF2-40B4-BE49-F238E27FC236}">
                <a16:creationId xmlns:a16="http://schemas.microsoft.com/office/drawing/2014/main" id="{37BF2824-4213-F5CF-7971-1491273131D7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4659313" y="4625975"/>
            <a:ext cx="869950" cy="3651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siness tri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Singapore</a:t>
            </a:r>
          </a:p>
        </p:txBody>
      </p:sp>
      <p:sp>
        <p:nvSpPr>
          <p:cNvPr id="157" name="Text Placeholder 5">
            <a:extLst>
              <a:ext uri="{FF2B5EF4-FFF2-40B4-BE49-F238E27FC236}">
                <a16:creationId xmlns:a16="http://schemas.microsoft.com/office/drawing/2014/main" id="{3806263C-25D8-28E8-3036-8260CBE6062F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468313" y="2060575"/>
            <a:ext cx="7842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Preparation</a:t>
            </a:r>
          </a:p>
        </p:txBody>
      </p:sp>
      <p:sp useBgFill="1">
        <p:nvSpPr>
          <p:cNvPr id="138" name="Rectangle 17">
            <a:extLst>
              <a:ext uri="{FF2B5EF4-FFF2-40B4-BE49-F238E27FC236}">
                <a16:creationId xmlns:a16="http://schemas.microsoft.com/office/drawing/2014/main" id="{A11D8599-E8A5-9D82-FA30-19AE72BA9CD0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6535738" y="4159250"/>
            <a:ext cx="295275" cy="182563"/>
          </a:xfrm>
          <a:prstGeom prst="rect">
            <a:avLst/>
          </a:pr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2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6" name="Text Placeholder 7">
            <a:extLst>
              <a:ext uri="{FF2B5EF4-FFF2-40B4-BE49-F238E27FC236}">
                <a16:creationId xmlns:a16="http://schemas.microsoft.com/office/drawing/2014/main" id="{B6D5F5D7-505F-8595-6C06-B2AFF9031FDC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10460038" y="2060575"/>
            <a:ext cx="725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Jamie Doe</a:t>
            </a:r>
          </a:p>
        </p:txBody>
      </p:sp>
      <p:sp useBgFill="1">
        <p:nvSpPr>
          <p:cNvPr id="139" name="Rectangle 35">
            <a:extLst>
              <a:ext uri="{FF2B5EF4-FFF2-40B4-BE49-F238E27FC236}">
                <a16:creationId xmlns:a16="http://schemas.microsoft.com/office/drawing/2014/main" id="{3B52BE9D-312D-3008-5135-338A2C582950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8180388" y="4159250"/>
            <a:ext cx="768350" cy="182563"/>
          </a:xfrm>
          <a:prstGeom prst="rect">
            <a:avLst/>
          </a:pr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Project end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3" name="Text Placeholder 7">
            <a:extLst>
              <a:ext uri="{FF2B5EF4-FFF2-40B4-BE49-F238E27FC236}">
                <a16:creationId xmlns:a16="http://schemas.microsoft.com/office/drawing/2014/main" id="{ABED9CF3-79C2-DDEC-FFBD-DAC945145AA6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10460038" y="2344738"/>
            <a:ext cx="727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Peter Doe </a:t>
            </a:r>
          </a:p>
        </p:txBody>
      </p:sp>
      <p:sp>
        <p:nvSpPr>
          <p:cNvPr id="137" name="Rectangle 12">
            <a:extLst>
              <a:ext uri="{FF2B5EF4-FFF2-40B4-BE49-F238E27FC236}">
                <a16:creationId xmlns:a16="http://schemas.microsoft.com/office/drawing/2014/main" id="{25EB9D88-43C9-2730-8D8F-83B16B48B10A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5283200" y="4159250"/>
            <a:ext cx="295275" cy="182563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1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1" name="Text Placeholder 5">
            <a:extLst>
              <a:ext uri="{FF2B5EF4-FFF2-40B4-BE49-F238E27FC236}">
                <a16:creationId xmlns:a16="http://schemas.microsoft.com/office/drawing/2014/main" id="{343D5ADD-63ED-C0F5-CCDB-3CC7CFA4C751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468313" y="2560638"/>
            <a:ext cx="10556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marR="0" lvl="2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al advisor</a:t>
            </a:r>
          </a:p>
        </p:txBody>
      </p:sp>
      <p:sp>
        <p:nvSpPr>
          <p:cNvPr id="149" name="Text Placeholder 7">
            <a:extLst>
              <a:ext uri="{FF2B5EF4-FFF2-40B4-BE49-F238E27FC236}">
                <a16:creationId xmlns:a16="http://schemas.microsoft.com/office/drawing/2014/main" id="{D5151E54-6423-3D99-5889-164D5C294658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10460038" y="2560638"/>
            <a:ext cx="6667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Paul Doe </a:t>
            </a:r>
          </a:p>
        </p:txBody>
      </p:sp>
      <p:sp>
        <p:nvSpPr>
          <p:cNvPr id="143" name="Text Placeholder 6">
            <a:extLst>
              <a:ext uri="{FF2B5EF4-FFF2-40B4-BE49-F238E27FC236}">
                <a16:creationId xmlns:a16="http://schemas.microsoft.com/office/drawing/2014/main" id="{DBDE4636-32F7-875E-734C-311C5D423D6B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468313" y="1806575"/>
            <a:ext cx="9985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Project phase</a:t>
            </a:r>
          </a:p>
        </p:txBody>
      </p:sp>
      <p:sp>
        <p:nvSpPr>
          <p:cNvPr id="144" name="Text Placeholder 5">
            <a:extLst>
              <a:ext uri="{FF2B5EF4-FFF2-40B4-BE49-F238E27FC236}">
                <a16:creationId xmlns:a16="http://schemas.microsoft.com/office/drawing/2014/main" id="{07D12A88-46A9-660E-7718-02335F9105E4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10460038" y="1806575"/>
            <a:ext cx="3556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d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9D129112-8C97-0C8D-F802-2C0CBE409500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11288713" y="1824038"/>
            <a:ext cx="4651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019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tatu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4" name="Text Placeholder 5">
            <a:extLst>
              <a:ext uri="{FF2B5EF4-FFF2-40B4-BE49-F238E27FC236}">
                <a16:creationId xmlns:a16="http://schemas.microsoft.com/office/drawing/2014/main" id="{1E4002C5-BE5F-58EA-3D20-9567791137DB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468313" y="2344738"/>
            <a:ext cx="12858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marR="0" lvl="2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Strategic advisor</a:t>
            </a:r>
          </a:p>
        </p:txBody>
      </p:sp>
      <p:sp>
        <p:nvSpPr>
          <p:cNvPr id="147" name="Text Placeholder 5">
            <a:extLst>
              <a:ext uri="{FF2B5EF4-FFF2-40B4-BE49-F238E27FC236}">
                <a16:creationId xmlns:a16="http://schemas.microsoft.com/office/drawing/2014/main" id="{49537935-5698-A8BD-AE46-0CDDD7A84760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468313" y="2843213"/>
            <a:ext cx="6667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keting</a:t>
            </a:r>
          </a:p>
        </p:txBody>
      </p:sp>
      <p:sp>
        <p:nvSpPr>
          <p:cNvPr id="146" name="Text Placeholder 7">
            <a:extLst>
              <a:ext uri="{FF2B5EF4-FFF2-40B4-BE49-F238E27FC236}">
                <a16:creationId xmlns:a16="http://schemas.microsoft.com/office/drawing/2014/main" id="{455FD524-DD93-8590-84CB-6091A20C4B20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10460038" y="2843213"/>
            <a:ext cx="7683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Sarah Doe </a:t>
            </a:r>
          </a:p>
        </p:txBody>
      </p:sp>
      <p:sp>
        <p:nvSpPr>
          <p:cNvPr id="150" name="Text Placeholder 5">
            <a:extLst>
              <a:ext uri="{FF2B5EF4-FFF2-40B4-BE49-F238E27FC236}">
                <a16:creationId xmlns:a16="http://schemas.microsoft.com/office/drawing/2014/main" id="{EC40C487-C81E-7481-5A82-A91823A84AD4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468313" y="3465513"/>
            <a:ext cx="10556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marR="0" lvl="2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al advisor</a:t>
            </a:r>
          </a:p>
        </p:txBody>
      </p:sp>
      <p:sp>
        <p:nvSpPr>
          <p:cNvPr id="142" name="Arc 654">
            <a:extLst>
              <a:ext uri="{FF2B5EF4-FFF2-40B4-BE49-F238E27FC236}">
                <a16:creationId xmlns:a16="http://schemas.microsoft.com/office/drawing/2014/main" id="{258BBA40-0C3A-8B14-759B-BC172E9F1A8A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11442700" y="2849563"/>
            <a:ext cx="158749" cy="15874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2" name="Text Placeholder 7">
            <a:extLst>
              <a:ext uri="{FF2B5EF4-FFF2-40B4-BE49-F238E27FC236}">
                <a16:creationId xmlns:a16="http://schemas.microsoft.com/office/drawing/2014/main" id="{5350DB48-0DAF-709E-3706-6FE6ACC52D5A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10460038" y="3465513"/>
            <a:ext cx="6667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ul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Doe </a:t>
            </a:r>
          </a:p>
        </p:txBody>
      </p:sp>
      <p:sp>
        <p:nvSpPr>
          <p:cNvPr id="140" name="Text Placeholder 7">
            <a:extLst>
              <a:ext uri="{FF2B5EF4-FFF2-40B4-BE49-F238E27FC236}">
                <a16:creationId xmlns:a16="http://schemas.microsoft.com/office/drawing/2014/main" id="{025D7274-3F79-32D9-37DC-C26DC6C69C5E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10460038" y="3155950"/>
            <a:ext cx="7683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Jamie Doe </a:t>
            </a:r>
          </a:p>
        </p:txBody>
      </p:sp>
      <p:sp>
        <p:nvSpPr>
          <p:cNvPr id="158" name="Arc 660">
            <a:extLst>
              <a:ext uri="{FF2B5EF4-FFF2-40B4-BE49-F238E27FC236}">
                <a16:creationId xmlns:a16="http://schemas.microsoft.com/office/drawing/2014/main" id="{1DC9D68F-1396-4D2F-0569-BFD24871E66B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11442700" y="3162300"/>
            <a:ext cx="158749" cy="15874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Text Placeholder 5">
            <a:extLst>
              <a:ext uri="{FF2B5EF4-FFF2-40B4-BE49-F238E27FC236}">
                <a16:creationId xmlns:a16="http://schemas.microsoft.com/office/drawing/2014/main" id="{B67154A9-3E7F-2DE8-002D-043B6F579F84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468313" y="3155950"/>
            <a:ext cx="9175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ue diligence</a:t>
            </a:r>
          </a:p>
        </p:txBody>
      </p:sp>
      <p:sp>
        <p:nvSpPr>
          <p:cNvPr id="155" name="Arc 663">
            <a:extLst>
              <a:ext uri="{FF2B5EF4-FFF2-40B4-BE49-F238E27FC236}">
                <a16:creationId xmlns:a16="http://schemas.microsoft.com/office/drawing/2014/main" id="{9E4BB863-9911-7FE4-170C-80D88005EF97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11442700" y="3471863"/>
            <a:ext cx="158749" cy="15874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 Placeholder 5">
            <a:extLst>
              <a:ext uri="{FF2B5EF4-FFF2-40B4-BE49-F238E27FC236}">
                <a16:creationId xmlns:a16="http://schemas.microsoft.com/office/drawing/2014/main" id="{D5EB40BE-AF30-245B-A5FC-FF6B352006CF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468313" y="3711575"/>
            <a:ext cx="17684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marR="0" lvl="2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ounting / tax advisor</a:t>
            </a:r>
          </a:p>
        </p:txBody>
      </p:sp>
      <p:sp>
        <p:nvSpPr>
          <p:cNvPr id="135" name="Text Placeholder 7">
            <a:extLst>
              <a:ext uri="{FF2B5EF4-FFF2-40B4-BE49-F238E27FC236}">
                <a16:creationId xmlns:a16="http://schemas.microsoft.com/office/drawing/2014/main" id="{E33E6272-D546-1136-8F03-DA8E5B22AD5B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10460038" y="3711575"/>
            <a:ext cx="7683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mi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Doe </a:t>
            </a:r>
          </a:p>
        </p:txBody>
      </p:sp>
      <p:sp>
        <p:nvSpPr>
          <p:cNvPr id="136" name="Arc 639">
            <a:extLst>
              <a:ext uri="{FF2B5EF4-FFF2-40B4-BE49-F238E27FC236}">
                <a16:creationId xmlns:a16="http://schemas.microsoft.com/office/drawing/2014/main" id="{91152060-F458-9F13-F572-972A93EE4088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gray">
          <a:xfrm>
            <a:off x="11442700" y="3717925"/>
            <a:ext cx="158749" cy="15874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9" name="Text Placeholder 5">
            <a:extLst>
              <a:ext uri="{FF2B5EF4-FFF2-40B4-BE49-F238E27FC236}">
                <a16:creationId xmlns:a16="http://schemas.microsoft.com/office/drawing/2014/main" id="{728E662C-85E0-53DE-E887-B524E36DBA8A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468313" y="3995738"/>
            <a:ext cx="9953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Decision gates</a:t>
            </a:r>
          </a:p>
        </p:txBody>
      </p:sp>
    </p:spTree>
    <p:extLst>
      <p:ext uri="{BB962C8B-B14F-4D97-AF65-F5344CB8AC3E}">
        <p14:creationId xmlns:p14="http://schemas.microsoft.com/office/powerpoint/2010/main" val="27990539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C2BD8-8908-BC20-1F66-25B92A98477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9379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04" imgH="403" progId="TCLayout.ActiveDocument.1">
                  <p:embed/>
                </p:oleObj>
              </mc:Choice>
              <mc:Fallback>
                <p:oleObj name="think-cell Slide" r:id="rId19" imgW="404" imgH="40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DC2BD8-8908-BC20-1F66-25B92A9847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el 22">
            <a:extLst>
              <a:ext uri="{FF2B5EF4-FFF2-40B4-BE49-F238E27FC236}">
                <a16:creationId xmlns:a16="http://schemas.microsoft.com/office/drawing/2014/main" id="{8F4D34C5-E426-8614-CB14-FFB2011C4F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>
            <a:spAutoFit/>
          </a:bodyPr>
          <a:lstStyle/>
          <a:p>
            <a:r>
              <a:rPr lang="en-US" dirty="0"/>
              <a:t>Next steps </a:t>
            </a:r>
          </a:p>
        </p:txBody>
      </p:sp>
      <p:sp>
        <p:nvSpPr>
          <p:cNvPr id="13" name="Rectangle 8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2119212" y="3439010"/>
            <a:ext cx="3936296" cy="738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  <a:miter lim="800000"/>
            <a:headEnd/>
            <a:tailEnd/>
          </a:ln>
          <a:effectLst/>
        </p:spPr>
        <p:txBody>
          <a:bodyPr lIns="360000" tIns="72000" rIns="72000" bIns="72000" anchor="ctr"/>
          <a:lstStyle/>
          <a:p>
            <a:pPr>
              <a:lnSpc>
                <a:spcPct val="120000"/>
              </a:lnSpc>
            </a:pPr>
            <a:r>
              <a:rPr lang="en-US" sz="1400" b="1" dirty="0"/>
              <a:t>Sample tex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E3C9B86-631F-7904-6764-5050B22D84D8}"/>
              </a:ext>
            </a:extLst>
          </p:cNvPr>
          <p:cNvGrpSpPr/>
          <p:nvPr/>
        </p:nvGrpSpPr>
        <p:grpSpPr>
          <a:xfrm>
            <a:off x="403200" y="1557338"/>
            <a:ext cx="5652307" cy="737218"/>
            <a:chOff x="403200" y="5320682"/>
            <a:chExt cx="5652307" cy="737218"/>
          </a:xfrm>
        </p:grpSpPr>
        <p:sp>
          <p:nvSpPr>
            <p:cNvPr id="21" name="Rectangle 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650412" y="5320682"/>
              <a:ext cx="5405095" cy="737218"/>
            </a:xfrm>
            <a:prstGeom prst="rect">
              <a:avLst/>
            </a:prstGeom>
            <a:noFill/>
            <a:ln w="9525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0" tIns="72000" rIns="72000" bIns="72000" anchor="ctr"/>
            <a:lstStyle/>
            <a:p>
              <a:pPr>
                <a:lnSpc>
                  <a:spcPct val="120000"/>
                </a:lnSpc>
              </a:pPr>
              <a:r>
                <a:rPr lang="en-US" sz="1400" b="1" dirty="0"/>
                <a:t>Sample text</a:t>
              </a:r>
            </a:p>
          </p:txBody>
        </p:sp>
        <p:sp>
          <p:nvSpPr>
            <p:cNvPr id="10" name="Rectangle 5">
              <a:extLst>
                <a:ext uri="{FF2B5EF4-FFF2-40B4-BE49-F238E27FC236}">
                  <a16:creationId xmlns:a16="http://schemas.microsoft.com/office/drawing/2014/main" id="{D9C6326F-81A2-94E8-761F-D602D6BE364E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403200" y="5446867"/>
              <a:ext cx="484850" cy="484849"/>
            </a:xfrm>
            <a:prstGeom prst="ellipse">
              <a:avLst/>
            </a:prstGeom>
            <a:solidFill>
              <a:schemeClr val="accent1"/>
            </a:solidFill>
            <a:ln w="25400">
              <a:noFill/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/>
          </p:spPr>
          <p:txBody>
            <a:bodyPr lIns="72000" tIns="0" rIns="7200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B868747F-D2FA-4426-6928-5352F596EAF1}"/>
              </a:ext>
            </a:extLst>
          </p:cNvPr>
          <p:cNvGrpSpPr/>
          <p:nvPr/>
        </p:nvGrpSpPr>
        <p:grpSpPr>
          <a:xfrm>
            <a:off x="1142387" y="2498725"/>
            <a:ext cx="4913119" cy="738000"/>
            <a:chOff x="1142387" y="4379846"/>
            <a:chExt cx="4913119" cy="738000"/>
          </a:xfrm>
        </p:grpSpPr>
        <p:sp>
          <p:nvSpPr>
            <p:cNvPr id="17" name="Rectangle 8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384812" y="4379846"/>
              <a:ext cx="4670694" cy="738000"/>
            </a:xfrm>
            <a:prstGeom prst="rect">
              <a:avLst/>
            </a:prstGeom>
            <a:noFill/>
            <a:ln w="9525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0" tIns="72000" rIns="72000" bIns="72000" anchor="ctr"/>
            <a:lstStyle/>
            <a:p>
              <a:pPr>
                <a:lnSpc>
                  <a:spcPct val="120000"/>
                </a:lnSpc>
              </a:pPr>
              <a:r>
                <a:rPr lang="en-US" sz="1400" b="1" dirty="0"/>
                <a:t>Sample text</a:t>
              </a:r>
            </a:p>
          </p:txBody>
        </p:sp>
        <p:sp>
          <p:nvSpPr>
            <p:cNvPr id="11" name="Rectangle 5">
              <a:extLst>
                <a:ext uri="{FF2B5EF4-FFF2-40B4-BE49-F238E27FC236}">
                  <a16:creationId xmlns:a16="http://schemas.microsoft.com/office/drawing/2014/main" id="{682CACC6-1AFA-7279-B4FC-526062A5BF47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142387" y="4506128"/>
              <a:ext cx="484850" cy="484849"/>
            </a:xfrm>
            <a:prstGeom prst="ellipse">
              <a:avLst/>
            </a:prstGeom>
            <a:solidFill>
              <a:schemeClr val="accent1"/>
            </a:solidFill>
            <a:ln w="25400">
              <a:noFill/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/>
          </p:spPr>
          <p:txBody>
            <a:bodyPr lIns="72000" tIns="0" rIns="7200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sp>
        <p:nvSpPr>
          <p:cNvPr id="12" name="Rectangle 5">
            <a:extLst>
              <a:ext uri="{FF2B5EF4-FFF2-40B4-BE49-F238E27FC236}">
                <a16:creationId xmlns:a16="http://schemas.microsoft.com/office/drawing/2014/main" id="{F6C2A3A0-3ADC-B826-EF50-AC34CE2A54D5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876787" y="3565390"/>
            <a:ext cx="484850" cy="484849"/>
          </a:xfrm>
          <a:prstGeom prst="ellipse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72000" tIns="0" rIns="7200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dirty="0">
                <a:solidFill>
                  <a:schemeClr val="bg1"/>
                </a:solidFill>
              </a:rPr>
              <a:t>3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A9C172B-EAA7-B8B6-10DF-5BC9A5CA5038}"/>
              </a:ext>
            </a:extLst>
          </p:cNvPr>
          <p:cNvGrpSpPr/>
          <p:nvPr/>
        </p:nvGrpSpPr>
        <p:grpSpPr>
          <a:xfrm>
            <a:off x="2611187" y="4379913"/>
            <a:ext cx="3444319" cy="738000"/>
            <a:chOff x="2611187" y="2498174"/>
            <a:chExt cx="3444319" cy="738000"/>
          </a:xfrm>
        </p:grpSpPr>
        <p:sp>
          <p:nvSpPr>
            <p:cNvPr id="9" name="Rectangle 8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853611" y="2498174"/>
              <a:ext cx="3201895" cy="738000"/>
            </a:xfrm>
            <a:prstGeom prst="rect">
              <a:avLst/>
            </a:prstGeom>
            <a:noFill/>
            <a:ln w="9525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0" tIns="72000" rIns="72000" bIns="72000" anchor="ctr"/>
            <a:lstStyle/>
            <a:p>
              <a:pPr>
                <a:lnSpc>
                  <a:spcPct val="120000"/>
                </a:lnSpc>
              </a:pPr>
              <a:r>
                <a:rPr lang="en-US" sz="1400" b="1" dirty="0"/>
                <a:t>Sample text</a:t>
              </a:r>
            </a:p>
          </p:txBody>
        </p:sp>
        <p:sp>
          <p:nvSpPr>
            <p:cNvPr id="14" name="Rectangle 5">
              <a:extLst>
                <a:ext uri="{FF2B5EF4-FFF2-40B4-BE49-F238E27FC236}">
                  <a16:creationId xmlns:a16="http://schemas.microsoft.com/office/drawing/2014/main" id="{7581A6B5-D8C1-778B-2864-C6F9EBCB4D70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611187" y="2624652"/>
              <a:ext cx="484850" cy="484849"/>
            </a:xfrm>
            <a:prstGeom prst="ellipse">
              <a:avLst/>
            </a:prstGeom>
            <a:solidFill>
              <a:schemeClr val="accent1"/>
            </a:solidFill>
            <a:ln w="25400">
              <a:noFill/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/>
          </p:spPr>
          <p:txBody>
            <a:bodyPr lIns="72000" tIns="0" rIns="7200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 dirty="0">
                  <a:solidFill>
                    <a:schemeClr val="bg1"/>
                  </a:solidFill>
                </a:rPr>
                <a:t>4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FAA8BAC6-73ED-A1C7-EC58-2B3935E386AA}"/>
              </a:ext>
            </a:extLst>
          </p:cNvPr>
          <p:cNvGrpSpPr/>
          <p:nvPr/>
        </p:nvGrpSpPr>
        <p:grpSpPr>
          <a:xfrm>
            <a:off x="3345587" y="5319713"/>
            <a:ext cx="2709918" cy="738000"/>
            <a:chOff x="3345587" y="1557338"/>
            <a:chExt cx="2709918" cy="738000"/>
          </a:xfrm>
        </p:grpSpPr>
        <p:sp>
          <p:nvSpPr>
            <p:cNvPr id="41" name="Rectangle 8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588010" y="1557338"/>
              <a:ext cx="2467495" cy="738000"/>
            </a:xfrm>
            <a:prstGeom prst="rect">
              <a:avLst/>
            </a:prstGeom>
            <a:noFill/>
            <a:ln w="9525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0" tIns="72000" rIns="72000" bIns="72000" anchor="ctr"/>
            <a:lstStyle/>
            <a:p>
              <a:pPr>
                <a:lnSpc>
                  <a:spcPct val="120000"/>
                </a:lnSpc>
              </a:pPr>
              <a:r>
                <a:rPr lang="en-US" sz="1400" b="1" dirty="0"/>
                <a:t>Sample text</a:t>
              </a:r>
            </a:p>
          </p:txBody>
        </p:sp>
        <p:sp>
          <p:nvSpPr>
            <p:cNvPr id="15" name="Rectangle 5">
              <a:extLst>
                <a:ext uri="{FF2B5EF4-FFF2-40B4-BE49-F238E27FC236}">
                  <a16:creationId xmlns:a16="http://schemas.microsoft.com/office/drawing/2014/main" id="{D7FF0871-0A06-AD5D-E28C-4CDE2A232CC1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3345587" y="1683914"/>
              <a:ext cx="484850" cy="484849"/>
            </a:xfrm>
            <a:prstGeom prst="ellipse">
              <a:avLst/>
            </a:prstGeom>
            <a:solidFill>
              <a:schemeClr val="accent1"/>
            </a:solidFill>
            <a:ln w="25400">
              <a:noFill/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/>
          </p:spPr>
          <p:txBody>
            <a:bodyPr lIns="72000" tIns="0" rIns="7200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 dirty="0">
                  <a:solidFill>
                    <a:schemeClr val="bg1"/>
                  </a:solidFill>
                </a:rPr>
                <a:t>5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9E3025F4-273B-B3E0-FFD3-925DD8B1A763}"/>
              </a:ext>
            </a:extLst>
          </p:cNvPr>
          <p:cNvGrpSpPr/>
          <p:nvPr/>
        </p:nvGrpSpPr>
        <p:grpSpPr>
          <a:xfrm>
            <a:off x="6314685" y="1557338"/>
            <a:ext cx="148569" cy="738000"/>
            <a:chOff x="6314687" y="1557338"/>
            <a:chExt cx="148569" cy="738000"/>
          </a:xfrm>
        </p:grpSpPr>
        <p:cxnSp>
          <p:nvCxnSpPr>
            <p:cNvPr id="19" name="Gerader Verbinder 55">
              <a:extLst>
                <a:ext uri="{FF2B5EF4-FFF2-40B4-BE49-F238E27FC236}">
                  <a16:creationId xmlns:a16="http://schemas.microsoft.com/office/drawing/2014/main" id="{DF04C77E-3675-A4F9-A0FD-26267FEDC6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88973" y="1557338"/>
              <a:ext cx="0" cy="164005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Gleichschenkliges Dreieck 15">
              <a:extLst>
                <a:ext uri="{FF2B5EF4-FFF2-40B4-BE49-F238E27FC236}">
                  <a16:creationId xmlns:a16="http://schemas.microsoft.com/office/drawing/2014/main" id="{64820201-E3B6-B8C7-43E4-C14B8A2260E6}"/>
                </a:ext>
              </a:extLst>
            </p:cNvPr>
            <p:cNvSpPr>
              <a:spLocks/>
            </p:cNvSpPr>
            <p:nvPr/>
          </p:nvSpPr>
          <p:spPr>
            <a:xfrm rot="5400000">
              <a:off x="6250841" y="1852053"/>
              <a:ext cx="276262" cy="14856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63" name="Gerader Verbinder 55">
              <a:extLst>
                <a:ext uri="{FF2B5EF4-FFF2-40B4-BE49-F238E27FC236}">
                  <a16:creationId xmlns:a16="http://schemas.microsoft.com/office/drawing/2014/main" id="{641B21B8-91FD-8F01-1DFF-CBB0D90CAD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88973" y="2131333"/>
              <a:ext cx="0" cy="164005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67B77616-BD74-F889-F79B-B3B56BB0C40C}"/>
              </a:ext>
            </a:extLst>
          </p:cNvPr>
          <p:cNvGrpSpPr/>
          <p:nvPr/>
        </p:nvGrpSpPr>
        <p:grpSpPr>
          <a:xfrm>
            <a:off x="6314685" y="2498174"/>
            <a:ext cx="148569" cy="738000"/>
            <a:chOff x="6314687" y="1557338"/>
            <a:chExt cx="148569" cy="738000"/>
          </a:xfrm>
        </p:grpSpPr>
        <p:cxnSp>
          <p:nvCxnSpPr>
            <p:cNvPr id="66" name="Gerader Verbinder 55">
              <a:extLst>
                <a:ext uri="{FF2B5EF4-FFF2-40B4-BE49-F238E27FC236}">
                  <a16:creationId xmlns:a16="http://schemas.microsoft.com/office/drawing/2014/main" id="{02077F33-73A3-9E18-82B5-363FE8F208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88973" y="1557338"/>
              <a:ext cx="0" cy="164005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Gleichschenkliges Dreieck 15">
              <a:extLst>
                <a:ext uri="{FF2B5EF4-FFF2-40B4-BE49-F238E27FC236}">
                  <a16:creationId xmlns:a16="http://schemas.microsoft.com/office/drawing/2014/main" id="{8C100510-A4A7-D06E-CE96-B35E0CA2C58A}"/>
                </a:ext>
              </a:extLst>
            </p:cNvPr>
            <p:cNvSpPr>
              <a:spLocks/>
            </p:cNvSpPr>
            <p:nvPr/>
          </p:nvSpPr>
          <p:spPr>
            <a:xfrm rot="5400000">
              <a:off x="6250841" y="1852053"/>
              <a:ext cx="276262" cy="14856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68" name="Gerader Verbinder 55">
              <a:extLst>
                <a:ext uri="{FF2B5EF4-FFF2-40B4-BE49-F238E27FC236}">
                  <a16:creationId xmlns:a16="http://schemas.microsoft.com/office/drawing/2014/main" id="{FAD6B34D-8737-27E2-C42F-E3A0E7ED73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88973" y="2131333"/>
              <a:ext cx="0" cy="164005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8DA59EE3-E3B2-C336-3C47-1C2FA20E4415}"/>
              </a:ext>
            </a:extLst>
          </p:cNvPr>
          <p:cNvGrpSpPr/>
          <p:nvPr/>
        </p:nvGrpSpPr>
        <p:grpSpPr>
          <a:xfrm>
            <a:off x="6314685" y="3439010"/>
            <a:ext cx="148569" cy="738000"/>
            <a:chOff x="6314687" y="1557338"/>
            <a:chExt cx="148569" cy="738000"/>
          </a:xfrm>
        </p:grpSpPr>
        <p:cxnSp>
          <p:nvCxnSpPr>
            <p:cNvPr id="70" name="Gerader Verbinder 55">
              <a:extLst>
                <a:ext uri="{FF2B5EF4-FFF2-40B4-BE49-F238E27FC236}">
                  <a16:creationId xmlns:a16="http://schemas.microsoft.com/office/drawing/2014/main" id="{DBE63F18-5C67-A0A7-0425-241FE331C0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88973" y="1557338"/>
              <a:ext cx="0" cy="164005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Gleichschenkliges Dreieck 15">
              <a:extLst>
                <a:ext uri="{FF2B5EF4-FFF2-40B4-BE49-F238E27FC236}">
                  <a16:creationId xmlns:a16="http://schemas.microsoft.com/office/drawing/2014/main" id="{941D7DA1-92EB-CCC5-33C6-7857659FFCCF}"/>
                </a:ext>
              </a:extLst>
            </p:cNvPr>
            <p:cNvSpPr>
              <a:spLocks/>
            </p:cNvSpPr>
            <p:nvPr/>
          </p:nvSpPr>
          <p:spPr>
            <a:xfrm rot="5400000">
              <a:off x="6250841" y="1852053"/>
              <a:ext cx="276262" cy="14856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72" name="Gerader Verbinder 55">
              <a:extLst>
                <a:ext uri="{FF2B5EF4-FFF2-40B4-BE49-F238E27FC236}">
                  <a16:creationId xmlns:a16="http://schemas.microsoft.com/office/drawing/2014/main" id="{24234E60-1C5F-D373-D298-4C2374C999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88973" y="2131333"/>
              <a:ext cx="0" cy="164005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293DB1F8-5B98-DEAB-0919-45365FC537F3}"/>
              </a:ext>
            </a:extLst>
          </p:cNvPr>
          <p:cNvGrpSpPr/>
          <p:nvPr/>
        </p:nvGrpSpPr>
        <p:grpSpPr>
          <a:xfrm>
            <a:off x="6314685" y="4379846"/>
            <a:ext cx="148569" cy="738000"/>
            <a:chOff x="6314687" y="1557338"/>
            <a:chExt cx="148569" cy="738000"/>
          </a:xfrm>
        </p:grpSpPr>
        <p:cxnSp>
          <p:nvCxnSpPr>
            <p:cNvPr id="74" name="Gerader Verbinder 55">
              <a:extLst>
                <a:ext uri="{FF2B5EF4-FFF2-40B4-BE49-F238E27FC236}">
                  <a16:creationId xmlns:a16="http://schemas.microsoft.com/office/drawing/2014/main" id="{EB98EA6A-CA1C-637D-5421-2EA4FF65CDB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88973" y="1557338"/>
              <a:ext cx="0" cy="164005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Gleichschenkliges Dreieck 15">
              <a:extLst>
                <a:ext uri="{FF2B5EF4-FFF2-40B4-BE49-F238E27FC236}">
                  <a16:creationId xmlns:a16="http://schemas.microsoft.com/office/drawing/2014/main" id="{835F9CD3-5396-1929-9069-27792B6C69D5}"/>
                </a:ext>
              </a:extLst>
            </p:cNvPr>
            <p:cNvSpPr>
              <a:spLocks/>
            </p:cNvSpPr>
            <p:nvPr/>
          </p:nvSpPr>
          <p:spPr>
            <a:xfrm rot="5400000">
              <a:off x="6250841" y="1852053"/>
              <a:ext cx="276262" cy="14856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77" name="Gerader Verbinder 55">
              <a:extLst>
                <a:ext uri="{FF2B5EF4-FFF2-40B4-BE49-F238E27FC236}">
                  <a16:creationId xmlns:a16="http://schemas.microsoft.com/office/drawing/2014/main" id="{67E652E6-9308-44F2-C880-03D10C2F792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88973" y="2131333"/>
              <a:ext cx="0" cy="164005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32080F25-B943-C0DE-FAE9-3817BE6156C1}"/>
              </a:ext>
            </a:extLst>
          </p:cNvPr>
          <p:cNvGrpSpPr/>
          <p:nvPr/>
        </p:nvGrpSpPr>
        <p:grpSpPr>
          <a:xfrm>
            <a:off x="6314685" y="5319900"/>
            <a:ext cx="148569" cy="738000"/>
            <a:chOff x="6314687" y="1557338"/>
            <a:chExt cx="148569" cy="738000"/>
          </a:xfrm>
        </p:grpSpPr>
        <p:cxnSp>
          <p:nvCxnSpPr>
            <p:cNvPr id="79" name="Gerader Verbinder 55">
              <a:extLst>
                <a:ext uri="{FF2B5EF4-FFF2-40B4-BE49-F238E27FC236}">
                  <a16:creationId xmlns:a16="http://schemas.microsoft.com/office/drawing/2014/main" id="{68F00336-8BF5-9620-6ED5-38895C8C84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88973" y="1557338"/>
              <a:ext cx="0" cy="164005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Gleichschenkliges Dreieck 15">
              <a:extLst>
                <a:ext uri="{FF2B5EF4-FFF2-40B4-BE49-F238E27FC236}">
                  <a16:creationId xmlns:a16="http://schemas.microsoft.com/office/drawing/2014/main" id="{2C00E7C5-20A7-5FED-511A-A1E3FBB739F7}"/>
                </a:ext>
              </a:extLst>
            </p:cNvPr>
            <p:cNvSpPr>
              <a:spLocks/>
            </p:cNvSpPr>
            <p:nvPr/>
          </p:nvSpPr>
          <p:spPr>
            <a:xfrm rot="5400000">
              <a:off x="6250841" y="1852053"/>
              <a:ext cx="276262" cy="14856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82" name="Gerader Verbinder 55">
              <a:extLst>
                <a:ext uri="{FF2B5EF4-FFF2-40B4-BE49-F238E27FC236}">
                  <a16:creationId xmlns:a16="http://schemas.microsoft.com/office/drawing/2014/main" id="{B015F93E-4F45-550D-A61D-4EA0DF842BE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88973" y="2131333"/>
              <a:ext cx="0" cy="164005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3" name="Rectangle 82">
            <a:extLst>
              <a:ext uri="{FF2B5EF4-FFF2-40B4-BE49-F238E27FC236}">
                <a16:creationId xmlns:a16="http://schemas.microsoft.com/office/drawing/2014/main" id="{9EC19060-4DE8-BCAA-1349-2F168BC067A0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6722435" y="2498174"/>
            <a:ext cx="5096678" cy="738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>
              <a:lnSpc>
                <a:spcPct val="120000"/>
              </a:lnSpc>
            </a:pPr>
            <a:r>
              <a:rPr lang="en-US" sz="1400" dirty="0"/>
              <a:t>Lorem ipsum dolor sit amet, consectetur adipiscing elit </a:t>
            </a:r>
          </a:p>
        </p:txBody>
      </p:sp>
      <p:sp>
        <p:nvSpPr>
          <p:cNvPr id="84" name="Rectangle 8">
            <a:extLst>
              <a:ext uri="{FF2B5EF4-FFF2-40B4-BE49-F238E27FC236}">
                <a16:creationId xmlns:a16="http://schemas.microsoft.com/office/drawing/2014/main" id="{C1490974-9B26-A70A-7A80-F1709A3826E3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6722436" y="3439010"/>
            <a:ext cx="5096678" cy="738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>
              <a:lnSpc>
                <a:spcPct val="120000"/>
              </a:lnSpc>
            </a:pPr>
            <a:r>
              <a:rPr lang="en-US" sz="1400" dirty="0"/>
              <a:t>Lorem ipsum dolor sit amet, consectetur adipiscing elit </a:t>
            </a:r>
          </a:p>
        </p:txBody>
      </p:sp>
      <p:sp>
        <p:nvSpPr>
          <p:cNvPr id="85" name="Rectangle 8">
            <a:extLst>
              <a:ext uri="{FF2B5EF4-FFF2-40B4-BE49-F238E27FC236}">
                <a16:creationId xmlns:a16="http://schemas.microsoft.com/office/drawing/2014/main" id="{E1F5B157-4660-9BC2-D56A-6F5AF464CCDC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6722436" y="4379846"/>
            <a:ext cx="5096678" cy="738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>
              <a:lnSpc>
                <a:spcPct val="120000"/>
              </a:lnSpc>
            </a:pPr>
            <a:r>
              <a:rPr lang="en-US" sz="1400" dirty="0"/>
              <a:t>Lorem ipsum dolor sit amet, consectetur adipiscing elit </a:t>
            </a:r>
          </a:p>
        </p:txBody>
      </p:sp>
      <p:sp>
        <p:nvSpPr>
          <p:cNvPr id="86" name="Rectangle 8">
            <a:extLst>
              <a:ext uri="{FF2B5EF4-FFF2-40B4-BE49-F238E27FC236}">
                <a16:creationId xmlns:a16="http://schemas.microsoft.com/office/drawing/2014/main" id="{BC655FDE-4BB9-615D-F1A8-E650B63BFC2A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6722436" y="5320682"/>
            <a:ext cx="5098088" cy="73721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>
              <a:lnSpc>
                <a:spcPct val="120000"/>
              </a:lnSpc>
            </a:pPr>
            <a:r>
              <a:rPr lang="en-US" sz="1400" dirty="0"/>
              <a:t>Lorem ipsum dolor sit amet, consectetur adipiscing elit </a:t>
            </a:r>
          </a:p>
        </p:txBody>
      </p:sp>
      <p:sp>
        <p:nvSpPr>
          <p:cNvPr id="88" name="Rectangle 8">
            <a:extLst>
              <a:ext uri="{FF2B5EF4-FFF2-40B4-BE49-F238E27FC236}">
                <a16:creationId xmlns:a16="http://schemas.microsoft.com/office/drawing/2014/main" id="{0451747D-034E-1EF4-F0AA-E6A0A8185FB0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6722435" y="1557338"/>
            <a:ext cx="5096678" cy="738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>
              <a:lnSpc>
                <a:spcPct val="120000"/>
              </a:lnSpc>
            </a:pPr>
            <a:r>
              <a:rPr lang="en-US" sz="1400" dirty="0"/>
              <a:t>Lorem ipsum dolor sit amet, consectetur adipiscing elit 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DD25E6D-F5B8-0910-0926-6CF80AD9110B}"/>
              </a:ext>
            </a:extLst>
          </p:cNvPr>
          <p:cNvCxnSpPr>
            <a:cxnSpLocks/>
          </p:cNvCxnSpPr>
          <p:nvPr/>
        </p:nvCxnSpPr>
        <p:spPr>
          <a:xfrm>
            <a:off x="10641600" y="310036"/>
            <a:ext cx="0" cy="326450"/>
          </a:xfrm>
          <a:prstGeom prst="line">
            <a:avLst/>
          </a:prstGeom>
          <a:ln w="28575">
            <a:solidFill>
              <a:srgbClr val="E916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33770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51C70E0-EDB8-C799-06DF-E7753CAE60C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1C70E0-EDB8-C799-06DF-E7753CAE60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221814-C767-84D1-CE57-8B14036145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65199" y="2024538"/>
            <a:ext cx="10518347" cy="2105025"/>
          </a:xfrm>
        </p:spPr>
        <p:txBody>
          <a:bodyPr/>
          <a:lstStyle/>
          <a:p>
            <a:r>
              <a:rPr lang="en-US" noProof="0" dirty="0"/>
              <a:t>Let’s align on any open questions</a:t>
            </a:r>
          </a:p>
        </p:txBody>
      </p:sp>
    </p:spTree>
    <p:extLst>
      <p:ext uri="{BB962C8B-B14F-4D97-AF65-F5344CB8AC3E}">
        <p14:creationId xmlns:p14="http://schemas.microsoft.com/office/powerpoint/2010/main" val="4889119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CBC4D8A8-96F1-2298-C0BF-A1A7F80BAC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E7DA7AD-D379-C715-96F3-CADA422628C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1736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7DA7AD-D379-C715-96F3-CADA422628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26" name="Slide Zoom 25">
                <a:extLst>
                  <a:ext uri="{FF2B5EF4-FFF2-40B4-BE49-F238E27FC236}">
                    <a16:creationId xmlns:a16="http://schemas.microsoft.com/office/drawing/2014/main" id="{73AD7B2E-7BB8-4E69-2831-AE36249F8658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675471413"/>
                  </p:ext>
                </p:extLst>
              </p:nvPr>
            </p:nvGraphicFramePr>
            <p:xfrm>
              <a:off x="6267841" y="3408855"/>
              <a:ext cx="2157413" cy="1212850"/>
            </p:xfrm>
            <a:graphic>
              <a:graphicData uri="http://schemas.microsoft.com/office/powerpoint/2016/slidezoom">
                <pslz:sldZm>
                  <pslz:sldZmObj sldId="2147473211" cId="822821238">
                    <pslz:zmPr id="{562A1D78-390F-44FB-BE78-58FEA4E8A80F}" returnToParent="0" transitionDur="100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7413" cy="121285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26" name="Slide Zoom 25">
                <a:extLst>
                  <a:ext uri="{FF2B5EF4-FFF2-40B4-BE49-F238E27FC236}">
                    <a16:creationId xmlns:a16="http://schemas.microsoft.com/office/drawing/2014/main" id="{73AD7B2E-7BB8-4E69-2831-AE36249F865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267841" y="3408855"/>
                <a:ext cx="2157413" cy="121285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22" name="Slide Zoom 21">
                <a:extLst>
                  <a:ext uri="{FF2B5EF4-FFF2-40B4-BE49-F238E27FC236}">
                    <a16:creationId xmlns:a16="http://schemas.microsoft.com/office/drawing/2014/main" id="{5D9C974D-4137-D26D-43AF-8ABD3E8E5C9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637310753"/>
                  </p:ext>
                </p:extLst>
              </p:nvPr>
            </p:nvGraphicFramePr>
            <p:xfrm>
              <a:off x="6267841" y="4845050"/>
              <a:ext cx="2157413" cy="1212850"/>
            </p:xfrm>
            <a:graphic>
              <a:graphicData uri="http://schemas.microsoft.com/office/powerpoint/2016/slidezoom">
                <pslz:sldZm>
                  <pslz:sldZmObj sldId="2147473305" cId="2799053901">
                    <pslz:zmPr id="{1670EEDE-2254-4D56-B7F1-AE5DD6C02641}" returnToParent="0" transitionDur="100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7413" cy="121285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22" name="Slide Zoom 21">
                <a:extLst>
                  <a:ext uri="{FF2B5EF4-FFF2-40B4-BE49-F238E27FC236}">
                    <a16:creationId xmlns:a16="http://schemas.microsoft.com/office/drawing/2014/main" id="{5D9C974D-4137-D26D-43AF-8ABD3E8E5C9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267841" y="4845050"/>
                <a:ext cx="2157413" cy="121285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18" name="Slide Zoom 17">
                <a:extLst>
                  <a:ext uri="{FF2B5EF4-FFF2-40B4-BE49-F238E27FC236}">
                    <a16:creationId xmlns:a16="http://schemas.microsoft.com/office/drawing/2014/main" id="{5F72A9E8-32FF-B4CC-4E79-B92B1A65409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592537208"/>
                  </p:ext>
                </p:extLst>
              </p:nvPr>
            </p:nvGraphicFramePr>
            <p:xfrm>
              <a:off x="6267841" y="1972660"/>
              <a:ext cx="2157413" cy="1212850"/>
            </p:xfrm>
            <a:graphic>
              <a:graphicData uri="http://schemas.microsoft.com/office/powerpoint/2016/slidezoom">
                <pslz:sldZm>
                  <pslz:sldZmObj sldId="436" cId="3348920128">
                    <pslz:zmPr id="{45221716-6E89-42B9-B6EB-15149672A799}" returnToParent="0" transitionDur="100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7413" cy="121285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18" name="Slide Zoom 17">
                <a:extLst>
                  <a:ext uri="{FF2B5EF4-FFF2-40B4-BE49-F238E27FC236}">
                    <a16:creationId xmlns:a16="http://schemas.microsoft.com/office/drawing/2014/main" id="{5F72A9E8-32FF-B4CC-4E79-B92B1A65409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267841" y="1972660"/>
                <a:ext cx="2157413" cy="121285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sp>
        <p:nvSpPr>
          <p:cNvPr id="2" name="Title 1">
            <a:extLst>
              <a:ext uri="{FF2B5EF4-FFF2-40B4-BE49-F238E27FC236}">
                <a16:creationId xmlns:a16="http://schemas.microsoft.com/office/drawing/2014/main" id="{1DF95032-9D20-3A48-EC0E-CEEC9A758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775597"/>
          </a:xfrm>
        </p:spPr>
        <p:txBody>
          <a:bodyPr vert="horz" rIns="0">
            <a:spAutoFit/>
          </a:bodyPr>
          <a:lstStyle/>
          <a:p>
            <a:r>
              <a:rPr lang="en-US" noProof="0" dirty="0"/>
              <a:t>You can use think-cell to adapt your planning template to meet the needs of the project</a:t>
            </a:r>
          </a:p>
        </p:txBody>
      </p:sp>
      <p:grpSp>
        <p:nvGrpSpPr>
          <p:cNvPr id="8" name="tc_columnheader">
            <a:extLst>
              <a:ext uri="{FF2B5EF4-FFF2-40B4-BE49-F238E27FC236}">
                <a16:creationId xmlns:a16="http://schemas.microsoft.com/office/drawing/2014/main" id="{89334A30-B163-6225-882F-F222B14E5EA7}"/>
              </a:ext>
            </a:extLst>
          </p:cNvPr>
          <p:cNvGrpSpPr/>
          <p:nvPr/>
        </p:nvGrpSpPr>
        <p:grpSpPr>
          <a:xfrm>
            <a:off x="8813782" y="1557330"/>
            <a:ext cx="2539763" cy="318916"/>
            <a:chOff x="407988" y="1557338"/>
            <a:chExt cx="4557873" cy="318916"/>
          </a:xfrm>
        </p:grpSpPr>
        <p:sp>
          <p:nvSpPr>
            <p:cNvPr id="10" name="tc_columnhead">
              <a:extLst>
                <a:ext uri="{FF2B5EF4-FFF2-40B4-BE49-F238E27FC236}">
                  <a16:creationId xmlns:a16="http://schemas.microsoft.com/office/drawing/2014/main" id="{AF2916C4-6ADC-A9EA-0758-86373D107D9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4557873" cy="318916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72000" rtlCol="0" anchor="b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et started with think-cell</a:t>
              </a:r>
            </a:p>
          </p:txBody>
        </p:sp>
        <p:cxnSp>
          <p:nvCxnSpPr>
            <p:cNvPr id="11" name="tc_columnheadline">
              <a:extLst>
                <a:ext uri="{FF2B5EF4-FFF2-40B4-BE49-F238E27FC236}">
                  <a16:creationId xmlns:a16="http://schemas.microsoft.com/office/drawing/2014/main" id="{23CAF469-8E8B-7825-4577-D70A6C054C82}"/>
                </a:ext>
              </a:extLst>
            </p:cNvPr>
            <p:cNvCxnSpPr>
              <a:cxnSpLocks/>
              <a:stCxn id="10" idx="4"/>
              <a:endCxn id="10" idx="6"/>
            </p:cNvCxnSpPr>
            <p:nvPr/>
          </p:nvCxnSpPr>
          <p:spPr>
            <a:xfrm>
              <a:off x="407988" y="1876254"/>
              <a:ext cx="4557873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tc_columnheader">
            <a:extLst>
              <a:ext uri="{FF2B5EF4-FFF2-40B4-BE49-F238E27FC236}">
                <a16:creationId xmlns:a16="http://schemas.microsoft.com/office/drawing/2014/main" id="{D00C3538-3E45-8C04-922E-C6CB2C5C257D}"/>
              </a:ext>
            </a:extLst>
          </p:cNvPr>
          <p:cNvGrpSpPr/>
          <p:nvPr/>
        </p:nvGrpSpPr>
        <p:grpSpPr>
          <a:xfrm>
            <a:off x="407988" y="1557338"/>
            <a:ext cx="5576400" cy="318924"/>
            <a:chOff x="407988" y="1557338"/>
            <a:chExt cx="5576400" cy="318924"/>
          </a:xfrm>
        </p:grpSpPr>
        <p:sp>
          <p:nvSpPr>
            <p:cNvPr id="13" name="tc_columnhead">
              <a:extLst>
                <a:ext uri="{FF2B5EF4-FFF2-40B4-BE49-F238E27FC236}">
                  <a16:creationId xmlns:a16="http://schemas.microsoft.com/office/drawing/2014/main" id="{3021B135-7F2D-BF0A-C0FF-0914B68B049D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5576400" cy="318924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72000" rtlCol="0" anchor="b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ow to use and adapt your project planning template</a:t>
              </a:r>
            </a:p>
          </p:txBody>
        </p:sp>
        <p:cxnSp>
          <p:nvCxnSpPr>
            <p:cNvPr id="14" name="tc_columnheadline">
              <a:extLst>
                <a:ext uri="{FF2B5EF4-FFF2-40B4-BE49-F238E27FC236}">
                  <a16:creationId xmlns:a16="http://schemas.microsoft.com/office/drawing/2014/main" id="{9C75A979-4C81-5FB3-F1B5-BC964FC3DD67}"/>
                </a:ext>
              </a:extLst>
            </p:cNvPr>
            <p:cNvCxnSpPr>
              <a:cxnSpLocks/>
              <a:stCxn id="13" idx="4"/>
              <a:endCxn id="13" idx="6"/>
            </p:cNvCxnSpPr>
            <p:nvPr/>
          </p:nvCxnSpPr>
          <p:spPr>
            <a:xfrm>
              <a:off x="407988" y="1876262"/>
              <a:ext cx="5576400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5CCE8C0-F765-6D44-A3D9-6902B69EB3B8}"/>
              </a:ext>
            </a:extLst>
          </p:cNvPr>
          <p:cNvSpPr txBox="1">
            <a:spLocks/>
          </p:cNvSpPr>
          <p:nvPr/>
        </p:nvSpPr>
        <p:spPr>
          <a:xfrm>
            <a:off x="407988" y="1975337"/>
            <a:ext cx="5576400" cy="393954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972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dapt the templates to your project information</a:t>
            </a:r>
          </a:p>
          <a:p>
            <a:pPr marL="177800" lvl="1" indent="-177800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80808"/>
                </a:solidFill>
              </a:rPr>
              <a:t>Fill in the slides with the activities and details for your project. Avoid generic texts and be as specific as possible.</a:t>
            </a:r>
          </a:p>
          <a:p>
            <a:pPr marL="177800" lvl="1" indent="-177800">
              <a:buFont typeface="Arial" panose="020B0604020202020204" pitchFamily="34" charset="0"/>
              <a:buChar char="•"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lvl="1" indent="0">
              <a:buNone/>
              <a:defRPr/>
            </a:pPr>
            <a:r>
              <a:rPr lang="en-US" b="1" dirty="0">
                <a:solidFill>
                  <a:srgbClr val="2972FF"/>
                </a:solidFill>
                <a:latin typeface="Arial" panose="020B0604020202020204" pitchFamily="34" charset="0"/>
              </a:rPr>
              <a:t>Write action titles</a:t>
            </a:r>
          </a:p>
          <a:p>
            <a:pPr marL="177800" lvl="1" indent="-177800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80808"/>
                </a:solidFill>
              </a:rPr>
              <a:t>The template slide headings are placeholders. Action titles should express the key takeaway to engage your audience.</a:t>
            </a:r>
          </a:p>
          <a:p>
            <a:pPr marL="0" lvl="1" indent="0">
              <a:buNone/>
              <a:defRPr/>
            </a:pPr>
            <a:endParaRPr lang="en-US" b="1" dirty="0">
              <a:solidFill>
                <a:srgbClr val="2972FF"/>
              </a:solidFill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972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pply your corporate identity</a:t>
            </a:r>
          </a:p>
          <a:p>
            <a:pPr marL="1778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 your brand colors for texts and elements at different levels, such as headlines, copy, and backgrounds. 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US" dirty="0">
              <a:solidFill>
                <a:srgbClr val="080808"/>
              </a:solidFill>
              <a:latin typeface="Arial"/>
            </a:endParaRPr>
          </a:p>
          <a:p>
            <a:pPr marL="0" lvl="0" indent="0">
              <a:buNone/>
              <a:defRPr/>
            </a:pPr>
            <a:r>
              <a:rPr lang="en-US" b="1" dirty="0">
                <a:solidFill>
                  <a:srgbClr val="2972FF"/>
                </a:solidFill>
                <a:latin typeface="Arial" panose="020B0604020202020204" pitchFamily="34" charset="0"/>
              </a:rPr>
              <a:t>Use think-cell to update charts with your project data</a:t>
            </a:r>
          </a:p>
          <a:p>
            <a:pPr>
              <a:defRPr/>
            </a:pPr>
            <a:r>
              <a:rPr lang="en-US" dirty="0">
                <a:solidFill>
                  <a:srgbClr val="080808"/>
                </a:solidFill>
              </a:rPr>
              <a:t>Slides 5, 6 and 10 contain think-cell charts. Download a free 30-day trial to install think-cell and add your own data.</a:t>
            </a:r>
            <a:endParaRPr lang="en-US" b="1" dirty="0">
              <a:solidFill>
                <a:srgbClr val="2972FF"/>
              </a:solidFill>
              <a:latin typeface="Arial" panose="020B0604020202020204" pitchFamily="34" charset="0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FBB3C6E-1FFB-FE84-7E09-6D1B3901656B}"/>
              </a:ext>
            </a:extLst>
          </p:cNvPr>
          <p:cNvSpPr txBox="1">
            <a:spLocks/>
          </p:cNvSpPr>
          <p:nvPr/>
        </p:nvSpPr>
        <p:spPr>
          <a:xfrm>
            <a:off x="8826500" y="1975337"/>
            <a:ext cx="2994025" cy="2646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9700" marR="0" lvl="0" indent="-1397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ate professional charts and data-driven tables.</a:t>
            </a:r>
          </a:p>
          <a:p>
            <a:pPr marL="139700" marR="0" lvl="0" indent="-1397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iver impactful presentations faster.</a:t>
            </a:r>
          </a:p>
          <a:p>
            <a:pPr marL="139700" marR="0" lvl="0" indent="-1397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y for 30 days, no credit card required and no cancellation necessar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39700" marR="0" lvl="0" indent="-139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4" name="Text Placeholder 10">
            <a:extLst>
              <a:ext uri="{FF2B5EF4-FFF2-40B4-BE49-F238E27FC236}">
                <a16:creationId xmlns:a16="http://schemas.microsoft.com/office/drawing/2014/main" id="{DDD08A4D-1C90-061D-446D-D10837B95788}"/>
              </a:ext>
            </a:extLst>
          </p:cNvPr>
          <p:cNvSpPr/>
          <p:nvPr/>
        </p:nvSpPr>
        <p:spPr>
          <a:xfrm>
            <a:off x="407987" y="1165515"/>
            <a:ext cx="4424288" cy="27699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72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Guide to using think-cell slide templat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7A96154-6FC0-62D3-7296-541FB83574BD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407988" y="5717136"/>
            <a:ext cx="1647276" cy="340764"/>
            <a:chOff x="407988" y="5717136"/>
            <a:chExt cx="1647276" cy="340764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C4DA23CF-1B92-24AB-2E89-3A7BAD916D2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07988" y="5719530"/>
              <a:ext cx="1635143" cy="338370"/>
            </a:xfrm>
            <a:prstGeom prst="rect">
              <a:avLst/>
            </a:prstGeom>
            <a:solidFill>
              <a:srgbClr val="E9163C"/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art free trial</a:t>
              </a: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12A1F592-370A-937B-A9B7-323B070D4D4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flipH="1">
              <a:off x="1637316" y="5719531"/>
              <a:ext cx="408180" cy="338369"/>
            </a:xfrm>
            <a:custGeom>
              <a:avLst/>
              <a:gdLst>
                <a:gd name="connsiteX0" fmla="*/ 0 w 5446800"/>
                <a:gd name="connsiteY0" fmla="*/ 0 h 4515223"/>
                <a:gd name="connsiteX1" fmla="*/ 3601911 w 5446800"/>
                <a:gd name="connsiteY1" fmla="*/ 0 h 4515223"/>
                <a:gd name="connsiteX2" fmla="*/ 5446800 w 5446800"/>
                <a:gd name="connsiteY2" fmla="*/ 4515223 h 4515223"/>
                <a:gd name="connsiteX3" fmla="*/ 0 w 5446800"/>
                <a:gd name="connsiteY3" fmla="*/ 4515223 h 451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46800" h="4515223">
                  <a:moveTo>
                    <a:pt x="0" y="0"/>
                  </a:moveTo>
                  <a:lnTo>
                    <a:pt x="3601911" y="0"/>
                  </a:lnTo>
                  <a:lnTo>
                    <a:pt x="5446800" y="4515223"/>
                  </a:lnTo>
                  <a:lnTo>
                    <a:pt x="0" y="4515223"/>
                  </a:lnTo>
                  <a:close/>
                </a:path>
              </a:pathLst>
            </a:custGeom>
            <a:solidFill>
              <a:srgbClr val="D21436"/>
            </a:solidFill>
            <a:ln w="340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Gleichschenkliges Dreieck 15">
              <a:extLst>
                <a:ext uri="{FF2B5EF4-FFF2-40B4-BE49-F238E27FC236}">
                  <a16:creationId xmlns:a16="http://schemas.microsoft.com/office/drawing/2014/main" id="{41C541EF-2A65-889E-38DB-398558397B7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rot="5400000">
              <a:off x="1853711" y="5858701"/>
              <a:ext cx="111621" cy="60028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" name="Rectangle 3">
              <a:hlinkClick r:id="rId9" highlightClick="1"/>
              <a:extLst>
                <a:ext uri="{FF2B5EF4-FFF2-40B4-BE49-F238E27FC236}">
                  <a16:creationId xmlns:a16="http://schemas.microsoft.com/office/drawing/2014/main" id="{19A7DC3B-BCA5-12E8-8AC3-2FABF5DB379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07988" y="5717136"/>
              <a:ext cx="1647276" cy="3407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BD4F429-1DD0-A34E-BDAC-7B00B0CF5B7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807405" y="4283845"/>
            <a:ext cx="1647276" cy="345849"/>
            <a:chOff x="8807405" y="4283845"/>
            <a:chExt cx="1647276" cy="345849"/>
          </a:xfrm>
        </p:grpSpPr>
        <p:sp>
          <p:nvSpPr>
            <p:cNvPr id="20" name="Rectangle 19">
              <a:hlinkClick r:id="rId10"/>
              <a:extLst>
                <a:ext uri="{FF2B5EF4-FFF2-40B4-BE49-F238E27FC236}">
                  <a16:creationId xmlns:a16="http://schemas.microsoft.com/office/drawing/2014/main" id="{B0194EC3-55D5-5F4A-9E87-358CC2A4217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813782" y="4283845"/>
              <a:ext cx="1635143" cy="338370"/>
            </a:xfrm>
            <a:prstGeom prst="rect">
              <a:avLst/>
            </a:prstGeom>
            <a:solidFill>
              <a:srgbClr val="E9163C"/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art free trial</a:t>
              </a: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B3DD0C8-BB04-2574-C4BC-6AD0ECE7F6E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flipH="1">
              <a:off x="10043110" y="4283846"/>
              <a:ext cx="408180" cy="338369"/>
            </a:xfrm>
            <a:custGeom>
              <a:avLst/>
              <a:gdLst>
                <a:gd name="connsiteX0" fmla="*/ 0 w 5446800"/>
                <a:gd name="connsiteY0" fmla="*/ 0 h 4515223"/>
                <a:gd name="connsiteX1" fmla="*/ 3601911 w 5446800"/>
                <a:gd name="connsiteY1" fmla="*/ 0 h 4515223"/>
                <a:gd name="connsiteX2" fmla="*/ 5446800 w 5446800"/>
                <a:gd name="connsiteY2" fmla="*/ 4515223 h 4515223"/>
                <a:gd name="connsiteX3" fmla="*/ 0 w 5446800"/>
                <a:gd name="connsiteY3" fmla="*/ 4515223 h 451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46800" h="4515223">
                  <a:moveTo>
                    <a:pt x="0" y="0"/>
                  </a:moveTo>
                  <a:lnTo>
                    <a:pt x="3601911" y="0"/>
                  </a:lnTo>
                  <a:lnTo>
                    <a:pt x="5446800" y="4515223"/>
                  </a:lnTo>
                  <a:lnTo>
                    <a:pt x="0" y="4515223"/>
                  </a:lnTo>
                  <a:close/>
                </a:path>
              </a:pathLst>
            </a:custGeom>
            <a:solidFill>
              <a:srgbClr val="D21436"/>
            </a:solidFill>
            <a:ln w="340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Gleichschenkliges Dreieck 15">
              <a:extLst>
                <a:ext uri="{FF2B5EF4-FFF2-40B4-BE49-F238E27FC236}">
                  <a16:creationId xmlns:a16="http://schemas.microsoft.com/office/drawing/2014/main" id="{DB0C839B-E95B-D219-440C-074FDB5413C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rot="5400000">
              <a:off x="10259505" y="4423016"/>
              <a:ext cx="111621" cy="60028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Rectangle 5">
              <a:hlinkClick r:id="rId9" highlightClick="1"/>
              <a:extLst>
                <a:ext uri="{FF2B5EF4-FFF2-40B4-BE49-F238E27FC236}">
                  <a16:creationId xmlns:a16="http://schemas.microsoft.com/office/drawing/2014/main" id="{0309E3EA-BCC1-FEE9-E7ED-1A289B4D495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807405" y="4288930"/>
              <a:ext cx="1647276" cy="3407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77191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F5B038-CF88-2EB0-55F0-3865C8D2718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154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9" imgH="349" progId="TCLayout.ActiveDocument.1">
                  <p:embed/>
                </p:oleObj>
              </mc:Choice>
              <mc:Fallback>
                <p:oleObj name="think-cell Slide" r:id="rId14" imgW="349" imgH="349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F5B038-CF88-2EB0-55F0-3865C8D271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>
            <a:spAutoFit/>
          </a:bodyPr>
          <a:lstStyle/>
          <a:p>
            <a:r>
              <a:rPr lang="en-US" dirty="0"/>
              <a:t>Agenda</a:t>
            </a:r>
          </a:p>
        </p:txBody>
      </p:sp>
      <p:cxnSp>
        <p:nvCxnSpPr>
          <p:cNvPr id="32" name="Gerader Verbinder 22">
            <a:extLst>
              <a:ext uri="{FF2B5EF4-FFF2-40B4-BE49-F238E27FC236}">
                <a16:creationId xmlns:a16="http://schemas.microsoft.com/office/drawing/2014/main" id="{0D5E26FD-8837-B5B5-A23F-2096F2B2F6F6}"/>
              </a:ext>
            </a:extLst>
          </p:cNvPr>
          <p:cNvCxnSpPr>
            <a:cxnSpLocks/>
          </p:cNvCxnSpPr>
          <p:nvPr/>
        </p:nvCxnSpPr>
        <p:spPr>
          <a:xfrm>
            <a:off x="407987" y="1557338"/>
            <a:ext cx="0" cy="2587564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42">
            <a:extLst>
              <a:ext uri="{FF2B5EF4-FFF2-40B4-BE49-F238E27FC236}">
                <a16:creationId xmlns:a16="http://schemas.microsoft.com/office/drawing/2014/main" id="{08671B0C-B4A0-09C7-7E02-581ED43DF339}"/>
              </a:ext>
            </a:extLst>
          </p:cNvPr>
          <p:cNvCxnSpPr>
            <a:cxnSpLocks/>
          </p:cNvCxnSpPr>
          <p:nvPr/>
        </p:nvCxnSpPr>
        <p:spPr>
          <a:xfrm>
            <a:off x="407987" y="4426835"/>
            <a:ext cx="0" cy="163106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3">
            <a:extLst>
              <a:ext uri="{FF2B5EF4-FFF2-40B4-BE49-F238E27FC236}">
                <a16:creationId xmlns:a16="http://schemas.microsoft.com/office/drawing/2014/main" id="{7A005708-D6FF-D33E-72AF-2F2B6692022B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720121" y="2513837"/>
            <a:ext cx="3695359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80808"/>
                </a:solidFill>
                <a:latin typeface="Arial"/>
              </a:rPr>
              <a:t>Key activities and risk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Rectangle 3">
            <a:extLst>
              <a:ext uri="{FF2B5EF4-FFF2-40B4-BE49-F238E27FC236}">
                <a16:creationId xmlns:a16="http://schemas.microsoft.com/office/drawing/2014/main" id="{5C86CD47-4408-566D-0701-57E136BD82FD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720121" y="1557338"/>
            <a:ext cx="3695359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overview</a:t>
            </a:r>
          </a:p>
        </p:txBody>
      </p:sp>
      <p:sp>
        <p:nvSpPr>
          <p:cNvPr id="29" name="Rectangle 3">
            <a:extLst>
              <a:ext uri="{FF2B5EF4-FFF2-40B4-BE49-F238E27FC236}">
                <a16:creationId xmlns:a16="http://schemas.microsoft.com/office/drawing/2014/main" id="{E01594ED-9099-154D-9793-F20068660647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720121" y="3470336"/>
            <a:ext cx="3695359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meline and milestones</a:t>
            </a:r>
          </a:p>
        </p:txBody>
      </p:sp>
      <p:sp>
        <p:nvSpPr>
          <p:cNvPr id="30" name="Rectangle 3">
            <a:extLst>
              <a:ext uri="{FF2B5EF4-FFF2-40B4-BE49-F238E27FC236}">
                <a16:creationId xmlns:a16="http://schemas.microsoft.com/office/drawing/2014/main" id="{4CD4BAF4-05D4-0661-355A-253337544A75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720121" y="4426835"/>
            <a:ext cx="3695359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xt steps</a:t>
            </a:r>
          </a:p>
        </p:txBody>
      </p:sp>
      <p:sp>
        <p:nvSpPr>
          <p:cNvPr id="31" name="Rectangle 3">
            <a:extLst>
              <a:ext uri="{FF2B5EF4-FFF2-40B4-BE49-F238E27FC236}">
                <a16:creationId xmlns:a16="http://schemas.microsoft.com/office/drawing/2014/main" id="{9161E148-4E84-18A6-644C-422AA3F85F40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720121" y="5383334"/>
            <a:ext cx="3695359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estions</a:t>
            </a: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A32C164C-839A-62B2-03EC-6F8D3AC53649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812054" y="1634226"/>
            <a:ext cx="667846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972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1.</a:t>
            </a:r>
          </a:p>
        </p:txBody>
      </p:sp>
      <p:sp>
        <p:nvSpPr>
          <p:cNvPr id="39" name="Rectangle 3">
            <a:extLst>
              <a:ext uri="{FF2B5EF4-FFF2-40B4-BE49-F238E27FC236}">
                <a16:creationId xmlns:a16="http://schemas.microsoft.com/office/drawing/2014/main" id="{1C016ACC-1048-9F45-A168-05F988684C33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812054" y="2590725"/>
            <a:ext cx="667846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972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2.</a:t>
            </a:r>
          </a:p>
        </p:txBody>
      </p:sp>
      <p:sp>
        <p:nvSpPr>
          <p:cNvPr id="40" name="Rectangle 3">
            <a:extLst>
              <a:ext uri="{FF2B5EF4-FFF2-40B4-BE49-F238E27FC236}">
                <a16:creationId xmlns:a16="http://schemas.microsoft.com/office/drawing/2014/main" id="{92EDAD3D-FC61-1D1D-8B4B-6392526DC903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812054" y="3547224"/>
            <a:ext cx="667846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972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3.</a:t>
            </a:r>
          </a:p>
        </p:txBody>
      </p:sp>
      <p:sp>
        <p:nvSpPr>
          <p:cNvPr id="41" name="Rectangle 3">
            <a:extLst>
              <a:ext uri="{FF2B5EF4-FFF2-40B4-BE49-F238E27FC236}">
                <a16:creationId xmlns:a16="http://schemas.microsoft.com/office/drawing/2014/main" id="{F29E01A4-98B7-2AB4-ACDE-7A82A952F3ED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812054" y="4503723"/>
            <a:ext cx="667846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972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4.</a:t>
            </a:r>
          </a:p>
        </p:txBody>
      </p:sp>
      <p:sp>
        <p:nvSpPr>
          <p:cNvPr id="42" name="Rectangle 3">
            <a:extLst>
              <a:ext uri="{FF2B5EF4-FFF2-40B4-BE49-F238E27FC236}">
                <a16:creationId xmlns:a16="http://schemas.microsoft.com/office/drawing/2014/main" id="{C9487B06-5289-CA96-5434-5362EC8B5DF5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812054" y="5460222"/>
            <a:ext cx="667846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972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5.</a:t>
            </a:r>
          </a:p>
        </p:txBody>
      </p:sp>
      <p:sp>
        <p:nvSpPr>
          <p:cNvPr id="43" name="Rectangle 3">
            <a:extLst>
              <a:ext uri="{FF2B5EF4-FFF2-40B4-BE49-F238E27FC236}">
                <a16:creationId xmlns:a16="http://schemas.microsoft.com/office/drawing/2014/main" id="{CA712340-8D57-05EF-2159-4E94AAED8BD4}"/>
              </a:ext>
            </a:extLst>
          </p:cNvPr>
          <p:cNvSpPr>
            <a:spLocks/>
          </p:cNvSpPr>
          <p:nvPr/>
        </p:nvSpPr>
        <p:spPr bwMode="gray">
          <a:xfrm>
            <a:off x="4727613" y="1557338"/>
            <a:ext cx="7081800" cy="673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ope, deliverables, metrics</a:t>
            </a:r>
          </a:p>
        </p:txBody>
      </p:sp>
      <p:sp>
        <p:nvSpPr>
          <p:cNvPr id="44" name="Rectangle 3">
            <a:extLst>
              <a:ext uri="{FF2B5EF4-FFF2-40B4-BE49-F238E27FC236}">
                <a16:creationId xmlns:a16="http://schemas.microsoft.com/office/drawing/2014/main" id="{F0B232F1-93A0-8E95-4907-F58B2C62B1A4}"/>
              </a:ext>
            </a:extLst>
          </p:cNvPr>
          <p:cNvSpPr>
            <a:spLocks/>
          </p:cNvSpPr>
          <p:nvPr/>
        </p:nvSpPr>
        <p:spPr bwMode="gray">
          <a:xfrm>
            <a:off x="4727613" y="2513838"/>
            <a:ext cx="7081800" cy="673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treams and status, interdependencies, SWOT analysis</a:t>
            </a:r>
          </a:p>
        </p:txBody>
      </p:sp>
      <p:sp>
        <p:nvSpPr>
          <p:cNvPr id="45" name="Rectangle 3">
            <a:extLst>
              <a:ext uri="{FF2B5EF4-FFF2-40B4-BE49-F238E27FC236}">
                <a16:creationId xmlns:a16="http://schemas.microsoft.com/office/drawing/2014/main" id="{50956BF1-A299-BBBD-1BC8-999D33102A16}"/>
              </a:ext>
            </a:extLst>
          </p:cNvPr>
          <p:cNvSpPr>
            <a:spLocks/>
          </p:cNvSpPr>
          <p:nvPr/>
        </p:nvSpPr>
        <p:spPr bwMode="gray">
          <a:xfrm>
            <a:off x="4727613" y="3470338"/>
            <a:ext cx="7081800" cy="673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admap, status, potential bottlenecks</a:t>
            </a:r>
          </a:p>
        </p:txBody>
      </p:sp>
      <p:sp>
        <p:nvSpPr>
          <p:cNvPr id="46" name="Rectangle 3">
            <a:extLst>
              <a:ext uri="{FF2B5EF4-FFF2-40B4-BE49-F238E27FC236}">
                <a16:creationId xmlns:a16="http://schemas.microsoft.com/office/drawing/2014/main" id="{A4F0622F-629B-E0E1-1FF7-1C76FF2A5A07}"/>
              </a:ext>
            </a:extLst>
          </p:cNvPr>
          <p:cNvSpPr>
            <a:spLocks/>
          </p:cNvSpPr>
          <p:nvPr/>
        </p:nvSpPr>
        <p:spPr bwMode="gray">
          <a:xfrm>
            <a:off x="4727613" y="4426838"/>
            <a:ext cx="7081800" cy="673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80808"/>
                </a:solidFill>
                <a:latin typeface="Arial"/>
              </a:rPr>
              <a:t>Actions and intended outcom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Rectangle 3">
            <a:extLst>
              <a:ext uri="{FF2B5EF4-FFF2-40B4-BE49-F238E27FC236}">
                <a16:creationId xmlns:a16="http://schemas.microsoft.com/office/drawing/2014/main" id="{9E0318CB-A0AF-6E88-EBFB-6E6B10DF1B27}"/>
              </a:ext>
            </a:extLst>
          </p:cNvPr>
          <p:cNvSpPr>
            <a:spLocks/>
          </p:cNvSpPr>
          <p:nvPr/>
        </p:nvSpPr>
        <p:spPr bwMode="gray">
          <a:xfrm>
            <a:off x="4727613" y="5383334"/>
            <a:ext cx="7081800" cy="673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ment and clarification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977A4D5-7932-4C7E-D0A4-F1CDD7EB493D}"/>
              </a:ext>
            </a:extLst>
          </p:cNvPr>
          <p:cNvCxnSpPr>
            <a:cxnSpLocks/>
          </p:cNvCxnSpPr>
          <p:nvPr/>
        </p:nvCxnSpPr>
        <p:spPr>
          <a:xfrm>
            <a:off x="4727533" y="2372188"/>
            <a:ext cx="7080952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FA7ACC9-1681-B038-6920-A2867352274C}"/>
              </a:ext>
            </a:extLst>
          </p:cNvPr>
          <p:cNvCxnSpPr>
            <a:cxnSpLocks/>
          </p:cNvCxnSpPr>
          <p:nvPr/>
        </p:nvCxnSpPr>
        <p:spPr>
          <a:xfrm>
            <a:off x="4727533" y="3328688"/>
            <a:ext cx="7080952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9D93E6B-E0AD-2ABA-816A-C6094AECF151}"/>
              </a:ext>
            </a:extLst>
          </p:cNvPr>
          <p:cNvCxnSpPr>
            <a:cxnSpLocks/>
          </p:cNvCxnSpPr>
          <p:nvPr/>
        </p:nvCxnSpPr>
        <p:spPr>
          <a:xfrm>
            <a:off x="4727533" y="4285188"/>
            <a:ext cx="7080952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5B63F31-D389-08AB-8767-F554B2393477}"/>
              </a:ext>
            </a:extLst>
          </p:cNvPr>
          <p:cNvCxnSpPr>
            <a:cxnSpLocks/>
          </p:cNvCxnSpPr>
          <p:nvPr/>
        </p:nvCxnSpPr>
        <p:spPr>
          <a:xfrm>
            <a:off x="4727533" y="5241688"/>
            <a:ext cx="7080952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12988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2153664-1262-6DB8-39D5-F14FF29284E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1552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3" progId="TCLayout.ActiveDocument.1">
                  <p:embed/>
                </p:oleObj>
              </mc:Choice>
              <mc:Fallback>
                <p:oleObj name="think-cell Slide" r:id="rId4" imgW="404" imgH="40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153664-1262-6DB8-39D5-F14FF2928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>
            <a:spAutoFit/>
          </a:bodyPr>
          <a:lstStyle/>
          <a:p>
            <a:r>
              <a:rPr lang="en-US" dirty="0"/>
              <a:t>Project scope &amp; deliverables</a:t>
            </a:r>
          </a:p>
        </p:txBody>
      </p:sp>
      <p:pic>
        <p:nvPicPr>
          <p:cNvPr id="11" name="Grafik 12">
            <a:extLst>
              <a:ext uri="{FF2B5EF4-FFF2-40B4-BE49-F238E27FC236}">
                <a16:creationId xmlns:a16="http://schemas.microsoft.com/office/drawing/2014/main" id="{FC5810F7-71DC-3C91-D433-97E23BCD76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625951" y="4030373"/>
            <a:ext cx="704560" cy="704560"/>
          </a:xfrm>
          <a:prstGeom prst="rect">
            <a:avLst/>
          </a:prstGeom>
        </p:spPr>
      </p:pic>
      <p:pic>
        <p:nvPicPr>
          <p:cNvPr id="12" name="Grafik 14">
            <a:extLst>
              <a:ext uri="{FF2B5EF4-FFF2-40B4-BE49-F238E27FC236}">
                <a16:creationId xmlns:a16="http://schemas.microsoft.com/office/drawing/2014/main" id="{8D52E85E-B189-61AF-472E-2D32D391571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61976" y="4030373"/>
            <a:ext cx="704560" cy="704560"/>
          </a:xfrm>
          <a:prstGeom prst="rect">
            <a:avLst/>
          </a:prstGeom>
        </p:spPr>
      </p:pic>
      <p:pic>
        <p:nvPicPr>
          <p:cNvPr id="13" name="Grafik 18">
            <a:extLst>
              <a:ext uri="{FF2B5EF4-FFF2-40B4-BE49-F238E27FC236}">
                <a16:creationId xmlns:a16="http://schemas.microsoft.com/office/drawing/2014/main" id="{9605D600-3A1F-F813-5D9C-6295EA7BAA6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898002" y="4030373"/>
            <a:ext cx="704560" cy="704560"/>
          </a:xfrm>
          <a:prstGeom prst="rect">
            <a:avLst/>
          </a:prstGeom>
        </p:spPr>
      </p:pic>
      <p:pic>
        <p:nvPicPr>
          <p:cNvPr id="14" name="Grafik 20">
            <a:extLst>
              <a:ext uri="{FF2B5EF4-FFF2-40B4-BE49-F238E27FC236}">
                <a16:creationId xmlns:a16="http://schemas.microsoft.com/office/drawing/2014/main" id="{76D518E2-18BC-1336-9FC3-17507213D24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625951" y="1743958"/>
            <a:ext cx="704560" cy="704560"/>
          </a:xfrm>
          <a:prstGeom prst="rect">
            <a:avLst/>
          </a:prstGeom>
        </p:spPr>
      </p:pic>
      <p:pic>
        <p:nvPicPr>
          <p:cNvPr id="15" name="Grafik 22">
            <a:extLst>
              <a:ext uri="{FF2B5EF4-FFF2-40B4-BE49-F238E27FC236}">
                <a16:creationId xmlns:a16="http://schemas.microsoft.com/office/drawing/2014/main" id="{CAEC1307-BF5C-B8E9-D139-8EC77869649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761976" y="1743958"/>
            <a:ext cx="704560" cy="704560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F90ADF7B-5A0A-FC0C-FCDE-63FF30578FEB}"/>
              </a:ext>
            </a:extLst>
          </p:cNvPr>
          <p:cNvSpPr>
            <a:spLocks/>
          </p:cNvSpPr>
          <p:nvPr/>
        </p:nvSpPr>
        <p:spPr>
          <a:xfrm>
            <a:off x="8135937" y="3897338"/>
            <a:ext cx="3684588" cy="2160000"/>
          </a:xfrm>
          <a:prstGeom prst="rect">
            <a:avLst/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00000" rIns="144000" bIns="108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Sample tex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972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Insert your desired tex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Lorem ipsum dolor sit amet. Ut enim ad minim veniam. Quis nostrud exercitation ullamc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  <a:sym typeface="Futura"/>
            </a:endParaRPr>
          </a:p>
        </p:txBody>
      </p:sp>
      <p:sp>
        <p:nvSpPr>
          <p:cNvPr id="6" name="Rechteck 6">
            <a:extLst>
              <a:ext uri="{FF2B5EF4-FFF2-40B4-BE49-F238E27FC236}">
                <a16:creationId xmlns:a16="http://schemas.microsoft.com/office/drawing/2014/main" id="{9FE5418E-084B-3A8A-1401-31AA765F1677}"/>
              </a:ext>
            </a:extLst>
          </p:cNvPr>
          <p:cNvSpPr>
            <a:spLocks/>
          </p:cNvSpPr>
          <p:nvPr/>
        </p:nvSpPr>
        <p:spPr>
          <a:xfrm>
            <a:off x="4271962" y="3897338"/>
            <a:ext cx="3684588" cy="2160000"/>
          </a:xfrm>
          <a:prstGeom prst="rect">
            <a:avLst/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00000" rIns="144000" bIns="108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Sample tex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972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Insert your desired tex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Lorem ipsum dolor sit amet. Ut enim ad minim veniam. Quis nostrud exercitation ullamc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  <a:sym typeface="Futura"/>
            </a:endParaRPr>
          </a:p>
        </p:txBody>
      </p:sp>
      <p:sp>
        <p:nvSpPr>
          <p:cNvPr id="3" name="Rechteck 4">
            <a:extLst>
              <a:ext uri="{FF2B5EF4-FFF2-40B4-BE49-F238E27FC236}">
                <a16:creationId xmlns:a16="http://schemas.microsoft.com/office/drawing/2014/main" id="{44BE4541-2948-6CFA-B33F-4A49D7295E95}"/>
              </a:ext>
            </a:extLst>
          </p:cNvPr>
          <p:cNvSpPr>
            <a:spLocks/>
          </p:cNvSpPr>
          <p:nvPr/>
        </p:nvSpPr>
        <p:spPr>
          <a:xfrm>
            <a:off x="407988" y="3897338"/>
            <a:ext cx="3684588" cy="2160000"/>
          </a:xfrm>
          <a:prstGeom prst="rect">
            <a:avLst/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00000" rIns="144000" bIns="108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Sample tex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972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Insert your desired tex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Lorem ipsum dolor sit amet. Ut enim ad minim veniam. Quis nostrud exercitation ullamc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  <a:sym typeface="Futura"/>
            </a:endParaRPr>
          </a:p>
        </p:txBody>
      </p:sp>
      <p:sp>
        <p:nvSpPr>
          <p:cNvPr id="7" name="Rechteck 7">
            <a:extLst>
              <a:ext uri="{FF2B5EF4-FFF2-40B4-BE49-F238E27FC236}">
                <a16:creationId xmlns:a16="http://schemas.microsoft.com/office/drawing/2014/main" id="{90085541-30E3-5017-7DDC-F303BE35024D}"/>
              </a:ext>
            </a:extLst>
          </p:cNvPr>
          <p:cNvSpPr>
            <a:spLocks/>
          </p:cNvSpPr>
          <p:nvPr/>
        </p:nvSpPr>
        <p:spPr>
          <a:xfrm>
            <a:off x="8135937" y="1557338"/>
            <a:ext cx="3684588" cy="2160000"/>
          </a:xfrm>
          <a:prstGeom prst="rect">
            <a:avLst/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00000" rIns="144000" bIns="108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Sample tex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972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Insert your desired tex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Lorem ipsum dolor sit amet. Ut enim ad minim veniam. Quis nostrud exercitation ullamc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  <a:sym typeface="Futura"/>
            </a:endParaRPr>
          </a:p>
        </p:txBody>
      </p:sp>
      <p:sp>
        <p:nvSpPr>
          <p:cNvPr id="4" name="Rechteck 5">
            <a:extLst>
              <a:ext uri="{FF2B5EF4-FFF2-40B4-BE49-F238E27FC236}">
                <a16:creationId xmlns:a16="http://schemas.microsoft.com/office/drawing/2014/main" id="{C3F70125-0842-37DC-8C25-431D4056439A}"/>
              </a:ext>
            </a:extLst>
          </p:cNvPr>
          <p:cNvSpPr>
            <a:spLocks/>
          </p:cNvSpPr>
          <p:nvPr/>
        </p:nvSpPr>
        <p:spPr>
          <a:xfrm>
            <a:off x="4271962" y="1557338"/>
            <a:ext cx="3684588" cy="2160000"/>
          </a:xfrm>
          <a:prstGeom prst="rect">
            <a:avLst/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00000" rIns="144000" bIns="108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Sample tex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972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Insert your desired tex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Lorem ipsum dolor sit amet. Ut enim ad minim veniam. Quis nostrud exercitation ullamc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  <a:sym typeface="Futura"/>
            </a:endParaRPr>
          </a:p>
        </p:txBody>
      </p:sp>
      <p:sp>
        <p:nvSpPr>
          <p:cNvPr id="2" name="Rechteck 3">
            <a:extLst>
              <a:ext uri="{FF2B5EF4-FFF2-40B4-BE49-F238E27FC236}">
                <a16:creationId xmlns:a16="http://schemas.microsoft.com/office/drawing/2014/main" id="{753893A9-CB04-2C1F-8002-FA887FD41065}"/>
              </a:ext>
            </a:extLst>
          </p:cNvPr>
          <p:cNvSpPr>
            <a:spLocks/>
          </p:cNvSpPr>
          <p:nvPr/>
        </p:nvSpPr>
        <p:spPr>
          <a:xfrm>
            <a:off x="407988" y="1557338"/>
            <a:ext cx="3684588" cy="2160000"/>
          </a:xfrm>
          <a:prstGeom prst="rect">
            <a:avLst/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00000" rIns="144000" bIns="108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Sample tex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972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Insert your desired tex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Lorem ipsum dolor sit amet. Ut enim ad minim veniam. Quis nostrud exercitation ullamc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  <a:sym typeface="Futura"/>
            </a:endParaRPr>
          </a:p>
        </p:txBody>
      </p:sp>
      <p:pic>
        <p:nvPicPr>
          <p:cNvPr id="16" name="Grafik 24">
            <a:extLst>
              <a:ext uri="{FF2B5EF4-FFF2-40B4-BE49-F238E27FC236}">
                <a16:creationId xmlns:a16="http://schemas.microsoft.com/office/drawing/2014/main" id="{83980584-3676-2892-CB97-2A4AB906614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898002" y="1743958"/>
            <a:ext cx="704560" cy="704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2963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D052C55-C400-5FBA-0DF9-83B975EA5B5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987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49" imgH="349" progId="TCLayout.ActiveDocument.1">
                  <p:embed/>
                </p:oleObj>
              </mc:Choice>
              <mc:Fallback>
                <p:oleObj name="think-cell Slide" r:id="rId22" imgW="349" imgH="349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052C55-C400-5FBA-0DF9-83B975EA5B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>
            <a:spAutoFit/>
          </a:bodyPr>
          <a:lstStyle/>
          <a:p>
            <a:r>
              <a:rPr lang="en-US" noProof="0"/>
              <a:t>Dashboard overview/KPI </a:t>
            </a:r>
            <a:r>
              <a:rPr lang="en-US" noProof="0" dirty="0"/>
              <a:t>tracking</a:t>
            </a:r>
            <a:endParaRPr lang="en-US" dirty="0"/>
          </a:p>
        </p:txBody>
      </p:sp>
      <p:sp>
        <p:nvSpPr>
          <p:cNvPr id="7" name="Rechteck 18">
            <a:extLst>
              <a:ext uri="{FF2B5EF4-FFF2-40B4-BE49-F238E27FC236}">
                <a16:creationId xmlns:a16="http://schemas.microsoft.com/office/drawing/2014/main" id="{B7A3FE8C-7D8D-FD19-895D-E882E20424EE}"/>
              </a:ext>
            </a:extLst>
          </p:cNvPr>
          <p:cNvSpPr>
            <a:spLocks/>
          </p:cNvSpPr>
          <p:nvPr/>
        </p:nvSpPr>
        <p:spPr>
          <a:xfrm>
            <a:off x="5047594" y="3897338"/>
            <a:ext cx="3291372" cy="2160000"/>
          </a:xfrm>
          <a:prstGeom prst="rect">
            <a:avLst/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Clicks</a:t>
            </a:r>
          </a:p>
        </p:txBody>
      </p:sp>
      <p:sp>
        <p:nvSpPr>
          <p:cNvPr id="9" name="Rechteck 19">
            <a:extLst>
              <a:ext uri="{FF2B5EF4-FFF2-40B4-BE49-F238E27FC236}">
                <a16:creationId xmlns:a16="http://schemas.microsoft.com/office/drawing/2014/main" id="{2D852524-5185-79B7-AC42-B3C9944BF176}"/>
              </a:ext>
            </a:extLst>
          </p:cNvPr>
          <p:cNvSpPr>
            <a:spLocks/>
          </p:cNvSpPr>
          <p:nvPr/>
        </p:nvSpPr>
        <p:spPr>
          <a:xfrm>
            <a:off x="408525" y="1557338"/>
            <a:ext cx="4459606" cy="2160000"/>
          </a:xfrm>
          <a:prstGeom prst="rect">
            <a:avLst/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Visitors</a:t>
            </a:r>
          </a:p>
        </p:txBody>
      </p:sp>
      <p:sp>
        <p:nvSpPr>
          <p:cNvPr id="11" name="Rechteck 20">
            <a:extLst>
              <a:ext uri="{FF2B5EF4-FFF2-40B4-BE49-F238E27FC236}">
                <a16:creationId xmlns:a16="http://schemas.microsoft.com/office/drawing/2014/main" id="{A3259F52-EF25-9EB8-BAF0-8E6ECC89D632}"/>
              </a:ext>
            </a:extLst>
          </p:cNvPr>
          <p:cNvSpPr>
            <a:spLocks/>
          </p:cNvSpPr>
          <p:nvPr/>
        </p:nvSpPr>
        <p:spPr>
          <a:xfrm>
            <a:off x="408525" y="3897338"/>
            <a:ext cx="4459606" cy="2160000"/>
          </a:xfrm>
          <a:prstGeom prst="rect">
            <a:avLst/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Page views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4059FCD2-6EC5-B69C-F9E1-953EBDE4C6F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7197016"/>
              </p:ext>
            </p:extLst>
          </p:nvPr>
        </p:nvGraphicFramePr>
        <p:xfrm>
          <a:off x="493713" y="2073275"/>
          <a:ext cx="4298950" cy="1365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717550" y="34147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A317707-A95A-4184-A0C0-7274CC863A0D}" type="datetime'''''''''''''''''''''2''''0''''''''''''1''''''''''7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406525" y="34147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8BC4679-1B60-44D4-9236-D25D5EB49DBA}" type="datetime'201''''8''''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8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095500" y="34147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BB3D8B6-8122-42EA-9156-45524736EA88}" type="datetime'''2''''0''''''''''''1''''''''''''''''''''''''''9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9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784475" y="34147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1446E6D-F09D-4379-9986-785393D855A9}" type="datetime'''''''''''''''''''''''''''''''20''2''''''0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3473450" y="34147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AC6855D-C52D-4204-9668-A282BBEFDDC5}" type="datetime'''2''''02''''''''''''''''''1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162425" y="34147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F889CF3-A07C-405F-8151-9FB544DDE371}" type="datetime'''''2''''''''''0''''''2''''''''''''''''2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hteck 8">
            <a:extLst>
              <a:ext uri="{FF2B5EF4-FFF2-40B4-BE49-F238E27FC236}">
                <a16:creationId xmlns:a16="http://schemas.microsoft.com/office/drawing/2014/main" id="{2785FFAF-04EA-29E6-8642-EE5B56B91D76}"/>
              </a:ext>
            </a:extLst>
          </p:cNvPr>
          <p:cNvSpPr>
            <a:spLocks/>
          </p:cNvSpPr>
          <p:nvPr/>
        </p:nvSpPr>
        <p:spPr>
          <a:xfrm>
            <a:off x="5047952" y="1557338"/>
            <a:ext cx="2134248" cy="2160000"/>
          </a:xfrm>
          <a:prstGeom prst="rect">
            <a:avLst/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Texts</a:t>
            </a:r>
          </a:p>
        </p:txBody>
      </p:sp>
      <p:pic>
        <p:nvPicPr>
          <p:cNvPr id="22" name="Grafik 128">
            <a:extLst>
              <a:ext uri="{FF2B5EF4-FFF2-40B4-BE49-F238E27FC236}">
                <a16:creationId xmlns:a16="http://schemas.microsoft.com/office/drawing/2014/main" id="{85713FB3-83E6-9045-C8CA-9AB3E39E389A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657876" y="2145274"/>
            <a:ext cx="914400" cy="914400"/>
          </a:xfrm>
          <a:prstGeom prst="rect">
            <a:avLst/>
          </a:prstGeom>
        </p:spPr>
      </p:pic>
      <p:sp>
        <p:nvSpPr>
          <p:cNvPr id="23" name="TextBox 36">
            <a:extLst>
              <a:ext uri="{FF2B5EF4-FFF2-40B4-BE49-F238E27FC236}">
                <a16:creationId xmlns:a16="http://schemas.microsoft.com/office/drawing/2014/main" id="{7D9D1353-FBE3-88F8-6071-C39318671512}"/>
              </a:ext>
            </a:extLst>
          </p:cNvPr>
          <p:cNvSpPr txBox="1">
            <a:spLocks/>
          </p:cNvSpPr>
          <p:nvPr/>
        </p:nvSpPr>
        <p:spPr>
          <a:xfrm>
            <a:off x="6239584" y="3368224"/>
            <a:ext cx="942616" cy="349702"/>
          </a:xfrm>
          <a:prstGeom prst="rect">
            <a:avLst/>
          </a:prstGeom>
          <a:noFill/>
        </p:spPr>
        <p:txBody>
          <a:bodyPr wrap="none" lIns="0" tIns="0" rIns="108000" bIns="7200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72FF"/>
                </a:solidFill>
                <a:effectLst/>
                <a:uLnTx/>
                <a:uFillTx/>
                <a:latin typeface="Arial"/>
                <a:ea typeface="Lato Light" panose="020F0502020204030203" pitchFamily="34" charset="0"/>
                <a:cs typeface="Poppins" pitchFamily="2" charset="77"/>
              </a:rPr>
              <a:t>100,000</a:t>
            </a:r>
          </a:p>
        </p:txBody>
      </p:sp>
      <p:sp>
        <p:nvSpPr>
          <p:cNvPr id="6" name="Rechteck 17">
            <a:extLst>
              <a:ext uri="{FF2B5EF4-FFF2-40B4-BE49-F238E27FC236}">
                <a16:creationId xmlns:a16="http://schemas.microsoft.com/office/drawing/2014/main" id="{30A936CB-95D7-FF08-8C78-916F028C8D82}"/>
              </a:ext>
            </a:extLst>
          </p:cNvPr>
          <p:cNvSpPr>
            <a:spLocks/>
          </p:cNvSpPr>
          <p:nvPr/>
        </p:nvSpPr>
        <p:spPr>
          <a:xfrm>
            <a:off x="7362021" y="1557338"/>
            <a:ext cx="2134248" cy="2160000"/>
          </a:xfrm>
          <a:prstGeom prst="rect">
            <a:avLst/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Users</a:t>
            </a:r>
          </a:p>
        </p:txBody>
      </p:sp>
      <p:pic>
        <p:nvPicPr>
          <p:cNvPr id="21" name="Grafik 126">
            <a:extLst>
              <a:ext uri="{FF2B5EF4-FFF2-40B4-BE49-F238E27FC236}">
                <a16:creationId xmlns:a16="http://schemas.microsoft.com/office/drawing/2014/main" id="{BB91B26F-7BB3-4B3F-2B08-96D15F77B884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971945" y="2145274"/>
            <a:ext cx="914400" cy="914400"/>
          </a:xfrm>
          <a:prstGeom prst="rect">
            <a:avLst/>
          </a:prstGeom>
        </p:spPr>
      </p:pic>
      <p:sp>
        <p:nvSpPr>
          <p:cNvPr id="24" name="TextBox 38">
            <a:extLst>
              <a:ext uri="{FF2B5EF4-FFF2-40B4-BE49-F238E27FC236}">
                <a16:creationId xmlns:a16="http://schemas.microsoft.com/office/drawing/2014/main" id="{2C89CBBB-035F-D862-010D-10AF76691786}"/>
              </a:ext>
            </a:extLst>
          </p:cNvPr>
          <p:cNvSpPr txBox="1">
            <a:spLocks/>
          </p:cNvSpPr>
          <p:nvPr/>
        </p:nvSpPr>
        <p:spPr>
          <a:xfrm>
            <a:off x="8553653" y="3368224"/>
            <a:ext cx="942616" cy="349702"/>
          </a:xfrm>
          <a:prstGeom prst="rect">
            <a:avLst/>
          </a:prstGeom>
          <a:noFill/>
        </p:spPr>
        <p:txBody>
          <a:bodyPr wrap="none" lIns="0" tIns="0" rIns="108000" bIns="7200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72FF"/>
                </a:solidFill>
                <a:effectLst/>
                <a:uLnTx/>
                <a:uFillTx/>
                <a:latin typeface="Arial"/>
                <a:ea typeface="Lato Light" panose="020F0502020204030203" pitchFamily="34" charset="0"/>
                <a:cs typeface="Poppins" pitchFamily="2" charset="77"/>
              </a:rPr>
              <a:t>100,000</a:t>
            </a:r>
          </a:p>
        </p:txBody>
      </p:sp>
      <p:sp>
        <p:nvSpPr>
          <p:cNvPr id="3" name="Rechteck 9">
            <a:extLst>
              <a:ext uri="{FF2B5EF4-FFF2-40B4-BE49-F238E27FC236}">
                <a16:creationId xmlns:a16="http://schemas.microsoft.com/office/drawing/2014/main" id="{68F78C39-F072-5144-3C68-6324F5B5AB9E}"/>
              </a:ext>
            </a:extLst>
          </p:cNvPr>
          <p:cNvSpPr>
            <a:spLocks/>
          </p:cNvSpPr>
          <p:nvPr/>
        </p:nvSpPr>
        <p:spPr>
          <a:xfrm>
            <a:off x="9676090" y="1557338"/>
            <a:ext cx="2144435" cy="2160000"/>
          </a:xfrm>
          <a:prstGeom prst="rect">
            <a:avLst/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Files</a:t>
            </a:r>
          </a:p>
        </p:txBody>
      </p:sp>
      <p:pic>
        <p:nvPicPr>
          <p:cNvPr id="20" name="Grafik 124">
            <a:extLst>
              <a:ext uri="{FF2B5EF4-FFF2-40B4-BE49-F238E27FC236}">
                <a16:creationId xmlns:a16="http://schemas.microsoft.com/office/drawing/2014/main" id="{415DEF57-759D-A3C6-7865-F456980B66DE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286014" y="2145274"/>
            <a:ext cx="914400" cy="914400"/>
          </a:xfrm>
          <a:prstGeom prst="rect">
            <a:avLst/>
          </a:prstGeom>
        </p:spPr>
      </p:pic>
      <p:sp>
        <p:nvSpPr>
          <p:cNvPr id="25" name="TextBox 40">
            <a:extLst>
              <a:ext uri="{FF2B5EF4-FFF2-40B4-BE49-F238E27FC236}">
                <a16:creationId xmlns:a16="http://schemas.microsoft.com/office/drawing/2014/main" id="{307CD878-6204-B5C2-80A9-F445291FE2CF}"/>
              </a:ext>
            </a:extLst>
          </p:cNvPr>
          <p:cNvSpPr txBox="1">
            <a:spLocks/>
          </p:cNvSpPr>
          <p:nvPr/>
        </p:nvSpPr>
        <p:spPr>
          <a:xfrm>
            <a:off x="10877908" y="3368224"/>
            <a:ext cx="942616" cy="349702"/>
          </a:xfrm>
          <a:prstGeom prst="rect">
            <a:avLst/>
          </a:prstGeom>
          <a:noFill/>
        </p:spPr>
        <p:txBody>
          <a:bodyPr wrap="none" lIns="0" tIns="0" rIns="108000" bIns="7200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72FF"/>
                </a:solidFill>
                <a:effectLst/>
                <a:uLnTx/>
                <a:uFillTx/>
                <a:latin typeface="Arial"/>
                <a:ea typeface="Lato Light" panose="020F0502020204030203" pitchFamily="34" charset="0"/>
                <a:cs typeface="Poppins" pitchFamily="2" charset="77"/>
              </a:rPr>
              <a:t>100,000</a:t>
            </a:r>
          </a:p>
        </p:txBody>
      </p:sp>
      <p:sp>
        <p:nvSpPr>
          <p:cNvPr id="4" name="Rechteck 14">
            <a:extLst>
              <a:ext uri="{FF2B5EF4-FFF2-40B4-BE49-F238E27FC236}">
                <a16:creationId xmlns:a16="http://schemas.microsoft.com/office/drawing/2014/main" id="{5374324D-EDB4-201D-85D2-489C59FE8213}"/>
              </a:ext>
            </a:extLst>
          </p:cNvPr>
          <p:cNvSpPr>
            <a:spLocks/>
          </p:cNvSpPr>
          <p:nvPr/>
        </p:nvSpPr>
        <p:spPr>
          <a:xfrm>
            <a:off x="8518967" y="3897338"/>
            <a:ext cx="3301558" cy="2160000"/>
          </a:xfrm>
          <a:prstGeom prst="rect">
            <a:avLst/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Futura"/>
              </a:rPr>
              <a:t>Revenue</a:t>
            </a:r>
          </a:p>
        </p:txBody>
      </p:sp>
      <p:pic>
        <p:nvPicPr>
          <p:cNvPr id="19" name="Grafik 122">
            <a:extLst>
              <a:ext uri="{FF2B5EF4-FFF2-40B4-BE49-F238E27FC236}">
                <a16:creationId xmlns:a16="http://schemas.microsoft.com/office/drawing/2014/main" id="{099DE54A-F0A6-3366-8A1C-52E867F51974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9707452" y="4418013"/>
            <a:ext cx="914400" cy="914400"/>
          </a:xfrm>
          <a:prstGeom prst="rect">
            <a:avLst/>
          </a:prstGeom>
        </p:spPr>
      </p:pic>
      <p:sp>
        <p:nvSpPr>
          <p:cNvPr id="26" name="TextBox 43">
            <a:extLst>
              <a:ext uri="{FF2B5EF4-FFF2-40B4-BE49-F238E27FC236}">
                <a16:creationId xmlns:a16="http://schemas.microsoft.com/office/drawing/2014/main" id="{CEB328BA-D145-7E28-8704-6FA7ED3A868F}"/>
              </a:ext>
            </a:extLst>
          </p:cNvPr>
          <p:cNvSpPr txBox="1">
            <a:spLocks/>
          </p:cNvSpPr>
          <p:nvPr/>
        </p:nvSpPr>
        <p:spPr>
          <a:xfrm>
            <a:off x="10429068" y="5708224"/>
            <a:ext cx="1391457" cy="349702"/>
          </a:xfrm>
          <a:prstGeom prst="rect">
            <a:avLst/>
          </a:prstGeom>
          <a:noFill/>
        </p:spPr>
        <p:txBody>
          <a:bodyPr wrap="none" lIns="0" tIns="0" rIns="108000" bIns="7200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72FF"/>
                </a:solidFill>
                <a:effectLst/>
                <a:uLnTx/>
                <a:uFillTx/>
                <a:latin typeface="Arial"/>
                <a:ea typeface="Lato Light" panose="020F0502020204030203" pitchFamily="34" charset="0"/>
                <a:cs typeface="Poppins" pitchFamily="2" charset="77"/>
              </a:rPr>
              <a:t>$100,000.00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1D7F9D05-FB61-CDC9-D603-5518D2A4B6A8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82071187"/>
              </p:ext>
            </p:extLst>
          </p:nvPr>
        </p:nvGraphicFramePr>
        <p:xfrm>
          <a:off x="5849938" y="4408488"/>
          <a:ext cx="1689100" cy="1463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28506E6E-CC86-0A63-BABF-A0B9548E7D77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7388225" y="5219700"/>
            <a:ext cx="650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1605DD9-885D-454A-B506-8968E03A3565}" type="datetime'Se''''r''''''''''''''''''''''''ie''''s'''' ''1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eries 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F7E1851C-0FAB-8194-D997-6151AF111B58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370513" y="5324475"/>
            <a:ext cx="650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BBBD7C2-F568-4DBC-A5F4-0D627AE7A8A3}" type="datetime'''''''''''''''''''''S''''''er''i''''e''s'' ''''2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eries 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2C4F9489-2415-7AE2-41CE-BD15B81244DD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684838" y="4349750"/>
            <a:ext cx="650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51D06DB-B389-4287-930A-2E82A9426D02}" type="datetime'''''''''''''S''''''''e''rie''''''''''''''''''''s'''' ''''3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eries 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DB54FA20-B3A8-AAE3-C479-0F2B58B53F60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23228726"/>
              </p:ext>
            </p:extLst>
          </p:nvPr>
        </p:nvGraphicFramePr>
        <p:xfrm>
          <a:off x="493713" y="4146550"/>
          <a:ext cx="4298950" cy="1833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C05D4B53-615E-A947-048A-79C309D20B88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715963" y="57324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168FB15-69C3-4D90-8131-1FBC19D44754}" type="datetime'''''''2''''''''''''''''0''''''''''''''''''''''1''''7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5330985E-48A3-9701-A4C6-791F630EDCE4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1404938" y="57324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5D8768D-9807-471C-9C4E-C813EBAAAF52}" type="datetime'2''''''''''''''''''''''''''0''1''''''''''''8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8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796240CD-5348-398F-CF4B-E6C1287B97E0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093913" y="57324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CC256EC-FF1B-47B5-89A7-FA54B9F8AE78}" type="datetime'''2''''''''''''''''''''''''''''01''9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9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09EA9239-FC93-8E98-08FA-D5542C0D99D2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2782888" y="57324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43A3649-E76B-4F5B-A315-DE68408ADCE4}" type="datetime'''''''''''''''2''0''''2''''0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33167106-4D63-724F-D905-0F9FAC6D5D8D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471863" y="57324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2B6C8FB-C77C-468D-BFD8-F8DCA979BD4F}" type="datetime'2''''0''''''''''''''2''''''''1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0E4646FF-217D-C6E0-742F-791E5AE3AD8A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4160838" y="57324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1364F78-6923-4E16-B9A6-96CB678F3D5A}" type="datetime'''''2''''''''''0''''''''''''''''''''''''''''''''''2''''''''2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89201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hink-cell data - do not delete" hidden="1">
            <a:extLst>
              <a:ext uri="{FF2B5EF4-FFF2-40B4-BE49-F238E27FC236}">
                <a16:creationId xmlns:a16="http://schemas.microsoft.com/office/drawing/2014/main" id="{2A749249-B36D-616D-17DB-39FB6A4C059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6515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49" imgH="349" progId="TCLayout.ActiveDocument.1">
                  <p:embed/>
                </p:oleObj>
              </mc:Choice>
              <mc:Fallback>
                <p:oleObj name="think-cell Slide" r:id="rId16" imgW="349" imgH="349" progId="TCLayout.ActiveDocument.1">
                  <p:embed/>
                  <p:pic>
                    <p:nvPicPr>
                      <p:cNvPr id="3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749249-B36D-616D-17DB-39FB6A4C0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>
            <a:spAutoFit/>
          </a:bodyPr>
          <a:lstStyle/>
          <a:p>
            <a:r>
              <a:rPr lang="en-US" dirty="0">
                <a:sym typeface="Futura"/>
              </a:rPr>
              <a:t>Project workstreams &amp; level of completeness</a:t>
            </a:r>
            <a:endParaRPr lang="en-US" dirty="0"/>
          </a:p>
        </p:txBody>
      </p:sp>
      <p:sp>
        <p:nvSpPr>
          <p:cNvPr id="7" name="Gleichschenkliges Dreieck 39">
            <a:extLst>
              <a:ext uri="{FF2B5EF4-FFF2-40B4-BE49-F238E27FC236}">
                <a16:creationId xmlns:a16="http://schemas.microsoft.com/office/drawing/2014/main" id="{030F4042-BC07-740C-E1A0-14AF984B2E3C}"/>
              </a:ext>
            </a:extLst>
          </p:cNvPr>
          <p:cNvSpPr>
            <a:spLocks/>
          </p:cNvSpPr>
          <p:nvPr/>
        </p:nvSpPr>
        <p:spPr>
          <a:xfrm rot="10800000">
            <a:off x="1545625" y="2768600"/>
            <a:ext cx="303379" cy="160338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Gleichschenkliges Dreieck 39">
            <a:extLst>
              <a:ext uri="{FF2B5EF4-FFF2-40B4-BE49-F238E27FC236}">
                <a16:creationId xmlns:a16="http://schemas.microsoft.com/office/drawing/2014/main" id="{8B22D257-9095-D3F6-8780-90DF69BC2320}"/>
              </a:ext>
            </a:extLst>
          </p:cNvPr>
          <p:cNvSpPr>
            <a:spLocks/>
          </p:cNvSpPr>
          <p:nvPr/>
        </p:nvSpPr>
        <p:spPr>
          <a:xfrm rot="10800000">
            <a:off x="4489959" y="2768600"/>
            <a:ext cx="304800" cy="160338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Gleichschenkliges Dreieck 39">
            <a:extLst>
              <a:ext uri="{FF2B5EF4-FFF2-40B4-BE49-F238E27FC236}">
                <a16:creationId xmlns:a16="http://schemas.microsoft.com/office/drawing/2014/main" id="{0AB28DCC-B1EB-B3C8-AB6F-639667FB8153}"/>
              </a:ext>
            </a:extLst>
          </p:cNvPr>
          <p:cNvSpPr>
            <a:spLocks/>
          </p:cNvSpPr>
          <p:nvPr/>
        </p:nvSpPr>
        <p:spPr>
          <a:xfrm rot="10800000">
            <a:off x="7435714" y="2768600"/>
            <a:ext cx="303379" cy="160338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Gleichschenkliges Dreieck 39">
            <a:extLst>
              <a:ext uri="{FF2B5EF4-FFF2-40B4-BE49-F238E27FC236}">
                <a16:creationId xmlns:a16="http://schemas.microsoft.com/office/drawing/2014/main" id="{1D84C183-4D7B-E420-4DBC-6E5001B4D7D4}"/>
              </a:ext>
            </a:extLst>
          </p:cNvPr>
          <p:cNvSpPr>
            <a:spLocks/>
          </p:cNvSpPr>
          <p:nvPr/>
        </p:nvSpPr>
        <p:spPr>
          <a:xfrm rot="10800000">
            <a:off x="10380047" y="2768600"/>
            <a:ext cx="303379" cy="160338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BAB4DF3C-5F0C-458E-6EE0-FE4F254E723F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408525" y="2065337"/>
            <a:ext cx="2577578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edit percentage, double-click think-cell doughnut chart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B63573E1-4CCD-E60D-042E-5357C967605A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3353332" y="2065337"/>
            <a:ext cx="2577578" cy="431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edit percentage, double-click think-cell doughnut chart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2B040CE7-52CA-4762-F9D1-57565EB270D2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6298139" y="2065337"/>
            <a:ext cx="2577578" cy="431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edit percentage, double-click think-cell doughnut chart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E5ABC979-66D2-6DBC-94A5-67188B36F67F}"/>
              </a:ext>
            </a:extLst>
          </p:cNvPr>
          <p:cNvSpPr>
            <a:spLocks/>
          </p:cNvSpPr>
          <p:nvPr/>
        </p:nvSpPr>
        <p:spPr bwMode="gray">
          <a:xfrm>
            <a:off x="408525" y="1557338"/>
            <a:ext cx="2577578" cy="369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rem ipsum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173277FC-629E-5D7A-DD44-B0540E1798E7}"/>
              </a:ext>
            </a:extLst>
          </p:cNvPr>
          <p:cNvSpPr>
            <a:spLocks/>
          </p:cNvSpPr>
          <p:nvPr/>
        </p:nvSpPr>
        <p:spPr bwMode="gray">
          <a:xfrm>
            <a:off x="3353332" y="1557338"/>
            <a:ext cx="2577578" cy="369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rem ipsum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1EF74C13-1CAB-0919-475A-8812D652FCF1}"/>
              </a:ext>
            </a:extLst>
          </p:cNvPr>
          <p:cNvSpPr>
            <a:spLocks/>
          </p:cNvSpPr>
          <p:nvPr/>
        </p:nvSpPr>
        <p:spPr bwMode="gray">
          <a:xfrm>
            <a:off x="6298139" y="1557338"/>
            <a:ext cx="2577578" cy="369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rem ipsum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99DBA907-EF19-0324-C361-C7FBA117E118}"/>
              </a:ext>
            </a:extLst>
          </p:cNvPr>
          <p:cNvSpPr>
            <a:spLocks/>
          </p:cNvSpPr>
          <p:nvPr/>
        </p:nvSpPr>
        <p:spPr bwMode="gray">
          <a:xfrm>
            <a:off x="9242947" y="1557338"/>
            <a:ext cx="2577578" cy="369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rem ipsum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918CFAB0-9DE8-44B4-8F9E-C44817990405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9242947" y="2065337"/>
            <a:ext cx="2577578" cy="431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edit percentage, double-click think-cell doughnut chart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1EAA91A9-E7CE-B655-E048-FF0824E42D7E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179274436"/>
              </p:ext>
            </p:extLst>
          </p:nvPr>
        </p:nvGraphicFramePr>
        <p:xfrm>
          <a:off x="9155113" y="3155950"/>
          <a:ext cx="2754312" cy="2374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454FAD-5804-89A1-3F29-8B223308A692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9866313" y="3959225"/>
            <a:ext cx="1330325" cy="768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41288" rIns="0" bIns="141288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9ACA4C2-E73B-47F4-AAAE-D3B065798897}" type="datetime'''''''''''''''''''''''''''1''''0''''''0''''''''''''''''''''%'">
              <a:rPr kumimoji="0" lang="en-US" altLang="en-US" sz="3200" b="1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0%</a:t>
            </a:fld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3D56BBCB-E216-F161-E91D-FFC639D51F09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56659592"/>
              </p:ext>
            </p:extLst>
          </p:nvPr>
        </p:nvGraphicFramePr>
        <p:xfrm>
          <a:off x="6210300" y="3155950"/>
          <a:ext cx="2754313" cy="2374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F735217-31D4-2EB6-5C6C-05E5758469BF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6997700" y="3924300"/>
            <a:ext cx="1177925" cy="83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6213" rIns="0" bIns="1762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F8A4B89-7270-40D9-BBC6-31124B39C086}" type="datetime'8''''''''0''%'''''''''''''''''''''''''">
              <a:rPr kumimoji="0" lang="en-US" altLang="en-US" sz="3200" b="1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0%</a:t>
            </a:fld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E9800CB7-F15A-B197-0CC9-4972279AFABC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790019449"/>
              </p:ext>
            </p:extLst>
          </p:nvPr>
        </p:nvGraphicFramePr>
        <p:xfrm>
          <a:off x="3265488" y="3155950"/>
          <a:ext cx="2754312" cy="2374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F0B5E4A-0579-663A-397D-3F47B55A7D9B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4052888" y="3924300"/>
            <a:ext cx="1177925" cy="83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6213" rIns="0" bIns="1762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4F46F37-5781-41CD-A453-F4CFCC1D4BAE}" type="datetime'2''''''''''''0''''''''''%'''''''''''">
              <a:rPr kumimoji="0" lang="en-US" altLang="en-US" sz="3200" b="1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%</a:t>
            </a:fld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E9F6B36E-9F50-A951-85E3-281626413E77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42576917"/>
              </p:ext>
            </p:extLst>
          </p:nvPr>
        </p:nvGraphicFramePr>
        <p:xfrm>
          <a:off x="320675" y="3155950"/>
          <a:ext cx="2754313" cy="2374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C7FA2DC-DACE-0059-7A24-DAADDDD6AB4E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1108075" y="3924300"/>
            <a:ext cx="1177925" cy="83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6213" rIns="0" bIns="1762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FE0D38A-0D00-4945-A8F1-63DB2FCE3274}" type="datetime'''''20''''''''''''''''%'''''''''''''''''''''''''''">
              <a:rPr lang="en-US" altLang="en-US" sz="3200" b="1" smtClean="0">
                <a:solidFill>
                  <a:srgbClr val="080808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%</a:t>
            </a:fld>
            <a:endParaRPr kumimoji="0" lang="en-US" sz="3200" b="1" i="0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9581349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5A5DC37-B578-83A0-901A-89B69155B72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3652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3" progId="TCLayout.ActiveDocument.1">
                  <p:embed/>
                </p:oleObj>
              </mc:Choice>
              <mc:Fallback>
                <p:oleObj name="think-cell Slide" r:id="rId4" imgW="404" imgH="40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A5DC37-B578-83A0-901A-89B69155B7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>
            <a:spAutoFit/>
          </a:bodyPr>
          <a:lstStyle/>
          <a:p>
            <a:r>
              <a:rPr lang="en-US" dirty="0"/>
              <a:t>Interdependencies</a:t>
            </a:r>
          </a:p>
        </p:txBody>
      </p:sp>
      <p:sp>
        <p:nvSpPr>
          <p:cNvPr id="27" name="Freihandform: Form 19">
            <a:extLst>
              <a:ext uri="{FF2B5EF4-FFF2-40B4-BE49-F238E27FC236}">
                <a16:creationId xmlns:a16="http://schemas.microsoft.com/office/drawing/2014/main" id="{47D43691-CBB3-2E53-F96D-35FEEA36B647}"/>
              </a:ext>
            </a:extLst>
          </p:cNvPr>
          <p:cNvSpPr>
            <a:spLocks/>
          </p:cNvSpPr>
          <p:nvPr/>
        </p:nvSpPr>
        <p:spPr>
          <a:xfrm>
            <a:off x="2271716" y="3391653"/>
            <a:ext cx="1921269" cy="1663865"/>
          </a:xfrm>
          <a:custGeom>
            <a:avLst/>
            <a:gdLst>
              <a:gd name="connsiteX0" fmla="*/ 1921270 w 1921269"/>
              <a:gd name="connsiteY0" fmla="*/ 831933 h 1663865"/>
              <a:gd name="connsiteX1" fmla="*/ 1440870 w 1921269"/>
              <a:gd name="connsiteY1" fmla="*/ 1663865 h 1663865"/>
              <a:gd name="connsiteX2" fmla="*/ 480235 w 1921269"/>
              <a:gd name="connsiteY2" fmla="*/ 1663865 h 1663865"/>
              <a:gd name="connsiteX3" fmla="*/ 0 w 1921269"/>
              <a:gd name="connsiteY3" fmla="*/ 831933 h 1663865"/>
              <a:gd name="connsiteX4" fmla="*/ 480235 w 1921269"/>
              <a:gd name="connsiteY4" fmla="*/ 0 h 1663865"/>
              <a:gd name="connsiteX5" fmla="*/ 1440870 w 1921269"/>
              <a:gd name="connsiteY5" fmla="*/ 0 h 1663865"/>
              <a:gd name="connsiteX6" fmla="*/ 1587107 w 1921269"/>
              <a:gd name="connsiteY6" fmla="*/ 253269 h 1663865"/>
              <a:gd name="connsiteX7" fmla="*/ 1591739 w 1921269"/>
              <a:gd name="connsiteY7" fmla="*/ 261044 h 1663865"/>
              <a:gd name="connsiteX8" fmla="*/ 1696785 w 1921269"/>
              <a:gd name="connsiteY8" fmla="*/ 326057 h 1663865"/>
              <a:gd name="connsiteX9" fmla="*/ 1745090 w 1921269"/>
              <a:gd name="connsiteY9" fmla="*/ 247479 h 1663865"/>
              <a:gd name="connsiteX10" fmla="*/ 1840541 w 1921269"/>
              <a:gd name="connsiteY10" fmla="*/ 324899 h 1663865"/>
              <a:gd name="connsiteX11" fmla="*/ 1843023 w 1921269"/>
              <a:gd name="connsiteY11" fmla="*/ 329365 h 1663865"/>
              <a:gd name="connsiteX12" fmla="*/ 1860062 w 1921269"/>
              <a:gd name="connsiteY12" fmla="*/ 446322 h 1663865"/>
              <a:gd name="connsiteX13" fmla="*/ 1767919 w 1921269"/>
              <a:gd name="connsiteY13" fmla="*/ 448969 h 1663865"/>
              <a:gd name="connsiteX14" fmla="*/ 1775529 w 1921269"/>
              <a:gd name="connsiteY14" fmla="*/ 579656 h 1663865"/>
              <a:gd name="connsiteX15" fmla="*/ 1776687 w 1921269"/>
              <a:gd name="connsiteY15" fmla="*/ 581641 h 1663865"/>
              <a:gd name="connsiteX16" fmla="*/ 1921270 w 1921269"/>
              <a:gd name="connsiteY16" fmla="*/ 831933 h 1663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921269" h="1663865">
                <a:moveTo>
                  <a:pt x="1921270" y="831933"/>
                </a:moveTo>
                <a:lnTo>
                  <a:pt x="1440870" y="1663865"/>
                </a:lnTo>
                <a:lnTo>
                  <a:pt x="480235" y="1663865"/>
                </a:lnTo>
                <a:lnTo>
                  <a:pt x="0" y="831933"/>
                </a:lnTo>
                <a:lnTo>
                  <a:pt x="480235" y="0"/>
                </a:lnTo>
                <a:lnTo>
                  <a:pt x="1440870" y="0"/>
                </a:lnTo>
                <a:lnTo>
                  <a:pt x="1587107" y="253269"/>
                </a:lnTo>
                <a:cubicBezTo>
                  <a:pt x="1588596" y="255916"/>
                  <a:pt x="1590250" y="258397"/>
                  <a:pt x="1591739" y="261044"/>
                </a:cubicBezTo>
                <a:cubicBezTo>
                  <a:pt x="1621020" y="308521"/>
                  <a:pt x="1660722" y="346901"/>
                  <a:pt x="1696785" y="326057"/>
                </a:cubicBezTo>
                <a:cubicBezTo>
                  <a:pt x="1734833" y="304055"/>
                  <a:pt x="1704064" y="271135"/>
                  <a:pt x="1745090" y="247479"/>
                </a:cubicBezTo>
                <a:cubicBezTo>
                  <a:pt x="1785950" y="223823"/>
                  <a:pt x="1840541" y="324899"/>
                  <a:pt x="1840541" y="324899"/>
                </a:cubicBezTo>
                <a:cubicBezTo>
                  <a:pt x="1840541" y="324899"/>
                  <a:pt x="1841368" y="326553"/>
                  <a:pt x="1843023" y="329365"/>
                </a:cubicBezTo>
                <a:cubicBezTo>
                  <a:pt x="1854272" y="348555"/>
                  <a:pt x="1895794" y="425644"/>
                  <a:pt x="1860062" y="446322"/>
                </a:cubicBezTo>
                <a:cubicBezTo>
                  <a:pt x="1819201" y="469978"/>
                  <a:pt x="1805967" y="426967"/>
                  <a:pt x="1767919" y="448969"/>
                </a:cubicBezTo>
                <a:cubicBezTo>
                  <a:pt x="1730367" y="470640"/>
                  <a:pt x="1746579" y="529036"/>
                  <a:pt x="1775529" y="579656"/>
                </a:cubicBezTo>
                <a:cubicBezTo>
                  <a:pt x="1775859" y="580318"/>
                  <a:pt x="1776356" y="580980"/>
                  <a:pt x="1776687" y="581641"/>
                </a:cubicBezTo>
                <a:lnTo>
                  <a:pt x="1921270" y="831933"/>
                </a:lnTo>
                <a:close/>
              </a:path>
            </a:pathLst>
          </a:custGeom>
          <a:solidFill>
            <a:schemeClr val="bg2"/>
          </a:solidFill>
          <a:ln w="16536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8" name="Freihandform: Form 20">
            <a:extLst>
              <a:ext uri="{FF2B5EF4-FFF2-40B4-BE49-F238E27FC236}">
                <a16:creationId xmlns:a16="http://schemas.microsoft.com/office/drawing/2014/main" id="{F86B79EF-E573-E788-D0B9-CB9EC4CCC736}"/>
              </a:ext>
            </a:extLst>
          </p:cNvPr>
          <p:cNvSpPr>
            <a:spLocks/>
          </p:cNvSpPr>
          <p:nvPr/>
        </p:nvSpPr>
        <p:spPr>
          <a:xfrm>
            <a:off x="3712586" y="2559721"/>
            <a:ext cx="1921435" cy="1663865"/>
          </a:xfrm>
          <a:custGeom>
            <a:avLst/>
            <a:gdLst>
              <a:gd name="connsiteX0" fmla="*/ 1775694 w 1921435"/>
              <a:gd name="connsiteY0" fmla="*/ 1084209 h 1663865"/>
              <a:gd name="connsiteX1" fmla="*/ 1768084 w 1921435"/>
              <a:gd name="connsiteY1" fmla="*/ 1214896 h 1663865"/>
              <a:gd name="connsiteX2" fmla="*/ 1860227 w 1921435"/>
              <a:gd name="connsiteY2" fmla="*/ 1217543 h 1663865"/>
              <a:gd name="connsiteX3" fmla="*/ 1843188 w 1921435"/>
              <a:gd name="connsiteY3" fmla="*/ 1334500 h 1663865"/>
              <a:gd name="connsiteX4" fmla="*/ 1840541 w 1921435"/>
              <a:gd name="connsiteY4" fmla="*/ 1338967 h 1663865"/>
              <a:gd name="connsiteX5" fmla="*/ 1745090 w 1921435"/>
              <a:gd name="connsiteY5" fmla="*/ 1416386 h 1663865"/>
              <a:gd name="connsiteX6" fmla="*/ 1696951 w 1921435"/>
              <a:gd name="connsiteY6" fmla="*/ 1337809 h 1663865"/>
              <a:gd name="connsiteX7" fmla="*/ 1591739 w 1921435"/>
              <a:gd name="connsiteY7" fmla="*/ 1402987 h 1663865"/>
              <a:gd name="connsiteX8" fmla="*/ 1587107 w 1921435"/>
              <a:gd name="connsiteY8" fmla="*/ 1410762 h 1663865"/>
              <a:gd name="connsiteX9" fmla="*/ 1441035 w 1921435"/>
              <a:gd name="connsiteY9" fmla="*/ 1663865 h 1663865"/>
              <a:gd name="connsiteX10" fmla="*/ 480400 w 1921435"/>
              <a:gd name="connsiteY10" fmla="*/ 1663865 h 1663865"/>
              <a:gd name="connsiteX11" fmla="*/ 335817 w 1921435"/>
              <a:gd name="connsiteY11" fmla="*/ 1413574 h 1663865"/>
              <a:gd name="connsiteX12" fmla="*/ 334659 w 1921435"/>
              <a:gd name="connsiteY12" fmla="*/ 1411589 h 1663865"/>
              <a:gd name="connsiteX13" fmla="*/ 327049 w 1921435"/>
              <a:gd name="connsiteY13" fmla="*/ 1280902 h 1663865"/>
              <a:gd name="connsiteX14" fmla="*/ 419192 w 1921435"/>
              <a:gd name="connsiteY14" fmla="*/ 1278255 h 1663865"/>
              <a:gd name="connsiteX15" fmla="*/ 402153 w 1921435"/>
              <a:gd name="connsiteY15" fmla="*/ 1161298 h 1663865"/>
              <a:gd name="connsiteX16" fmla="*/ 399672 w 1921435"/>
              <a:gd name="connsiteY16" fmla="*/ 1156831 h 1663865"/>
              <a:gd name="connsiteX17" fmla="*/ 304220 w 1921435"/>
              <a:gd name="connsiteY17" fmla="*/ 1079411 h 1663865"/>
              <a:gd name="connsiteX18" fmla="*/ 255916 w 1921435"/>
              <a:gd name="connsiteY18" fmla="*/ 1157989 h 1663865"/>
              <a:gd name="connsiteX19" fmla="*/ 150870 w 1921435"/>
              <a:gd name="connsiteY19" fmla="*/ 1092977 h 1663865"/>
              <a:gd name="connsiteX20" fmla="*/ 146237 w 1921435"/>
              <a:gd name="connsiteY20" fmla="*/ 1085201 h 1663865"/>
              <a:gd name="connsiteX21" fmla="*/ 0 w 1921435"/>
              <a:gd name="connsiteY21" fmla="*/ 831933 h 1663865"/>
              <a:gd name="connsiteX22" fmla="*/ 480400 w 1921435"/>
              <a:gd name="connsiteY22" fmla="*/ 0 h 1663865"/>
              <a:gd name="connsiteX23" fmla="*/ 1441035 w 1921435"/>
              <a:gd name="connsiteY23" fmla="*/ 0 h 1663865"/>
              <a:gd name="connsiteX24" fmla="*/ 1921435 w 1921435"/>
              <a:gd name="connsiteY24" fmla="*/ 831933 h 1663865"/>
              <a:gd name="connsiteX25" fmla="*/ 1921435 w 1921435"/>
              <a:gd name="connsiteY25" fmla="*/ 831933 h 1663865"/>
              <a:gd name="connsiteX26" fmla="*/ 1777017 w 1921435"/>
              <a:gd name="connsiteY26" fmla="*/ 1082224 h 1663865"/>
              <a:gd name="connsiteX27" fmla="*/ 1775859 w 1921435"/>
              <a:gd name="connsiteY27" fmla="*/ 1084209 h 1663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921435" h="1663865">
                <a:moveTo>
                  <a:pt x="1775694" y="1084209"/>
                </a:moveTo>
                <a:cubicBezTo>
                  <a:pt x="1746744" y="1134830"/>
                  <a:pt x="1730532" y="1193225"/>
                  <a:pt x="1768084" y="1214896"/>
                </a:cubicBezTo>
                <a:cubicBezTo>
                  <a:pt x="1805967" y="1236898"/>
                  <a:pt x="1819201" y="1193887"/>
                  <a:pt x="1860227" y="1217543"/>
                </a:cubicBezTo>
                <a:cubicBezTo>
                  <a:pt x="1895959" y="1238221"/>
                  <a:pt x="1854272" y="1315310"/>
                  <a:pt x="1843188" y="1334500"/>
                </a:cubicBezTo>
                <a:cubicBezTo>
                  <a:pt x="1841534" y="1337312"/>
                  <a:pt x="1840541" y="1338967"/>
                  <a:pt x="1840541" y="1338967"/>
                </a:cubicBezTo>
                <a:cubicBezTo>
                  <a:pt x="1840541" y="1338967"/>
                  <a:pt x="1786116" y="1440042"/>
                  <a:pt x="1745090" y="1416386"/>
                </a:cubicBezTo>
                <a:cubicBezTo>
                  <a:pt x="1704229" y="1392730"/>
                  <a:pt x="1734833" y="1359810"/>
                  <a:pt x="1696951" y="1337809"/>
                </a:cubicBezTo>
                <a:cubicBezTo>
                  <a:pt x="1660888" y="1316965"/>
                  <a:pt x="1621020" y="1355344"/>
                  <a:pt x="1591739" y="1402987"/>
                </a:cubicBezTo>
                <a:cubicBezTo>
                  <a:pt x="1590250" y="1405634"/>
                  <a:pt x="1588596" y="1408115"/>
                  <a:pt x="1587107" y="1410762"/>
                </a:cubicBezTo>
                <a:lnTo>
                  <a:pt x="1441035" y="1663865"/>
                </a:lnTo>
                <a:lnTo>
                  <a:pt x="480400" y="1663865"/>
                </a:lnTo>
                <a:lnTo>
                  <a:pt x="335817" y="1413574"/>
                </a:lnTo>
                <a:cubicBezTo>
                  <a:pt x="335817" y="1413574"/>
                  <a:pt x="334990" y="1412251"/>
                  <a:pt x="334659" y="1411589"/>
                </a:cubicBezTo>
                <a:cubicBezTo>
                  <a:pt x="305709" y="1360968"/>
                  <a:pt x="289497" y="1302573"/>
                  <a:pt x="327049" y="1280902"/>
                </a:cubicBezTo>
                <a:cubicBezTo>
                  <a:pt x="365097" y="1258900"/>
                  <a:pt x="378332" y="1301911"/>
                  <a:pt x="419192" y="1278255"/>
                </a:cubicBezTo>
                <a:cubicBezTo>
                  <a:pt x="454924" y="1257576"/>
                  <a:pt x="413402" y="1180487"/>
                  <a:pt x="402153" y="1161298"/>
                </a:cubicBezTo>
                <a:cubicBezTo>
                  <a:pt x="400499" y="1158486"/>
                  <a:pt x="399672" y="1156831"/>
                  <a:pt x="399672" y="1156831"/>
                </a:cubicBezTo>
                <a:cubicBezTo>
                  <a:pt x="399672" y="1156831"/>
                  <a:pt x="345081" y="1055755"/>
                  <a:pt x="304220" y="1079411"/>
                </a:cubicBezTo>
                <a:cubicBezTo>
                  <a:pt x="263194" y="1103068"/>
                  <a:pt x="293964" y="1135988"/>
                  <a:pt x="255916" y="1157989"/>
                </a:cubicBezTo>
                <a:cubicBezTo>
                  <a:pt x="219853" y="1178833"/>
                  <a:pt x="180150" y="1140454"/>
                  <a:pt x="150870" y="1092977"/>
                </a:cubicBezTo>
                <a:cubicBezTo>
                  <a:pt x="149381" y="1090330"/>
                  <a:pt x="147726" y="1087848"/>
                  <a:pt x="146237" y="1085201"/>
                </a:cubicBezTo>
                <a:lnTo>
                  <a:pt x="0" y="831933"/>
                </a:lnTo>
                <a:lnTo>
                  <a:pt x="480400" y="0"/>
                </a:lnTo>
                <a:lnTo>
                  <a:pt x="1441035" y="0"/>
                </a:lnTo>
                <a:lnTo>
                  <a:pt x="1921435" y="831933"/>
                </a:lnTo>
                <a:lnTo>
                  <a:pt x="1921435" y="831933"/>
                </a:lnTo>
                <a:lnTo>
                  <a:pt x="1777017" y="1082224"/>
                </a:lnTo>
                <a:cubicBezTo>
                  <a:pt x="1777017" y="1082224"/>
                  <a:pt x="1776190" y="1083547"/>
                  <a:pt x="1775859" y="1084209"/>
                </a:cubicBezTo>
                <a:close/>
              </a:path>
            </a:pathLst>
          </a:custGeom>
          <a:solidFill>
            <a:schemeClr val="bg2"/>
          </a:solidFill>
          <a:ln w="16536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9" name="Freihandform: Form 21">
            <a:extLst>
              <a:ext uri="{FF2B5EF4-FFF2-40B4-BE49-F238E27FC236}">
                <a16:creationId xmlns:a16="http://schemas.microsoft.com/office/drawing/2014/main" id="{A5CD7B4F-06A7-C542-BDCE-F802D5ABDCD3}"/>
              </a:ext>
            </a:extLst>
          </p:cNvPr>
          <p:cNvSpPr>
            <a:spLocks/>
          </p:cNvSpPr>
          <p:nvPr/>
        </p:nvSpPr>
        <p:spPr>
          <a:xfrm>
            <a:off x="5153621" y="3391653"/>
            <a:ext cx="1921269" cy="1663865"/>
          </a:xfrm>
          <a:custGeom>
            <a:avLst/>
            <a:gdLst>
              <a:gd name="connsiteX0" fmla="*/ 1921270 w 1921269"/>
              <a:gd name="connsiteY0" fmla="*/ 831933 h 1663865"/>
              <a:gd name="connsiteX1" fmla="*/ 1441035 w 1921269"/>
              <a:gd name="connsiteY1" fmla="*/ 1663865 h 1663865"/>
              <a:gd name="connsiteX2" fmla="*/ 480235 w 1921269"/>
              <a:gd name="connsiteY2" fmla="*/ 1663865 h 1663865"/>
              <a:gd name="connsiteX3" fmla="*/ 0 w 1921269"/>
              <a:gd name="connsiteY3" fmla="*/ 831933 h 1663865"/>
              <a:gd name="connsiteX4" fmla="*/ 146072 w 1921269"/>
              <a:gd name="connsiteY4" fmla="*/ 578829 h 1663865"/>
              <a:gd name="connsiteX5" fmla="*/ 150704 w 1921269"/>
              <a:gd name="connsiteY5" fmla="*/ 571054 h 1663865"/>
              <a:gd name="connsiteX6" fmla="*/ 255916 w 1921269"/>
              <a:gd name="connsiteY6" fmla="*/ 505876 h 1663865"/>
              <a:gd name="connsiteX7" fmla="*/ 304055 w 1921269"/>
              <a:gd name="connsiteY7" fmla="*/ 584454 h 1663865"/>
              <a:gd name="connsiteX8" fmla="*/ 399506 w 1921269"/>
              <a:gd name="connsiteY8" fmla="*/ 507034 h 1663865"/>
              <a:gd name="connsiteX9" fmla="*/ 402153 w 1921269"/>
              <a:gd name="connsiteY9" fmla="*/ 502567 h 1663865"/>
              <a:gd name="connsiteX10" fmla="*/ 419192 w 1921269"/>
              <a:gd name="connsiteY10" fmla="*/ 385610 h 1663865"/>
              <a:gd name="connsiteX11" fmla="*/ 327049 w 1921269"/>
              <a:gd name="connsiteY11" fmla="*/ 382964 h 1663865"/>
              <a:gd name="connsiteX12" fmla="*/ 334659 w 1921269"/>
              <a:gd name="connsiteY12" fmla="*/ 252276 h 1663865"/>
              <a:gd name="connsiteX13" fmla="*/ 335817 w 1921269"/>
              <a:gd name="connsiteY13" fmla="*/ 250291 h 1663865"/>
              <a:gd name="connsiteX14" fmla="*/ 480400 w 1921269"/>
              <a:gd name="connsiteY14" fmla="*/ 0 h 1663865"/>
              <a:gd name="connsiteX15" fmla="*/ 1440870 w 1921269"/>
              <a:gd name="connsiteY15" fmla="*/ 0 h 1663865"/>
              <a:gd name="connsiteX16" fmla="*/ 1576685 w 1921269"/>
              <a:gd name="connsiteY16" fmla="*/ 235072 h 1663865"/>
              <a:gd name="connsiteX17" fmla="*/ 1587107 w 1921269"/>
              <a:gd name="connsiteY17" fmla="*/ 253269 h 1663865"/>
              <a:gd name="connsiteX18" fmla="*/ 1591739 w 1921269"/>
              <a:gd name="connsiteY18" fmla="*/ 261044 h 1663865"/>
              <a:gd name="connsiteX19" fmla="*/ 1696785 w 1921269"/>
              <a:gd name="connsiteY19" fmla="*/ 326057 h 1663865"/>
              <a:gd name="connsiteX20" fmla="*/ 1744924 w 1921269"/>
              <a:gd name="connsiteY20" fmla="*/ 247479 h 1663865"/>
              <a:gd name="connsiteX21" fmla="*/ 1840541 w 1921269"/>
              <a:gd name="connsiteY21" fmla="*/ 324899 h 1663865"/>
              <a:gd name="connsiteX22" fmla="*/ 1843023 w 1921269"/>
              <a:gd name="connsiteY22" fmla="*/ 329365 h 1663865"/>
              <a:gd name="connsiteX23" fmla="*/ 1860062 w 1921269"/>
              <a:gd name="connsiteY23" fmla="*/ 446322 h 1663865"/>
              <a:gd name="connsiteX24" fmla="*/ 1767919 w 1921269"/>
              <a:gd name="connsiteY24" fmla="*/ 448969 h 1663865"/>
              <a:gd name="connsiteX25" fmla="*/ 1774536 w 1921269"/>
              <a:gd name="connsiteY25" fmla="*/ 577837 h 1663865"/>
              <a:gd name="connsiteX26" fmla="*/ 1776687 w 1921269"/>
              <a:gd name="connsiteY26" fmla="*/ 581641 h 1663865"/>
              <a:gd name="connsiteX27" fmla="*/ 1921270 w 1921269"/>
              <a:gd name="connsiteY27" fmla="*/ 831933 h 1663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921269" h="1663865">
                <a:moveTo>
                  <a:pt x="1921270" y="831933"/>
                </a:moveTo>
                <a:lnTo>
                  <a:pt x="1441035" y="1663865"/>
                </a:lnTo>
                <a:lnTo>
                  <a:pt x="480235" y="1663865"/>
                </a:lnTo>
                <a:lnTo>
                  <a:pt x="0" y="831933"/>
                </a:lnTo>
                <a:lnTo>
                  <a:pt x="146072" y="578829"/>
                </a:lnTo>
                <a:cubicBezTo>
                  <a:pt x="147561" y="576182"/>
                  <a:pt x="149215" y="573701"/>
                  <a:pt x="150704" y="571054"/>
                </a:cubicBezTo>
                <a:cubicBezTo>
                  <a:pt x="179985" y="523411"/>
                  <a:pt x="219853" y="485032"/>
                  <a:pt x="255916" y="505876"/>
                </a:cubicBezTo>
                <a:cubicBezTo>
                  <a:pt x="293799" y="527878"/>
                  <a:pt x="263194" y="560798"/>
                  <a:pt x="304055" y="584454"/>
                </a:cubicBezTo>
                <a:cubicBezTo>
                  <a:pt x="345081" y="608110"/>
                  <a:pt x="399506" y="507034"/>
                  <a:pt x="399506" y="507034"/>
                </a:cubicBezTo>
                <a:cubicBezTo>
                  <a:pt x="399506" y="507034"/>
                  <a:pt x="400499" y="505380"/>
                  <a:pt x="402153" y="502567"/>
                </a:cubicBezTo>
                <a:cubicBezTo>
                  <a:pt x="413237" y="483378"/>
                  <a:pt x="454924" y="406289"/>
                  <a:pt x="419192" y="385610"/>
                </a:cubicBezTo>
                <a:cubicBezTo>
                  <a:pt x="378166" y="361954"/>
                  <a:pt x="364932" y="404965"/>
                  <a:pt x="327049" y="382964"/>
                </a:cubicBezTo>
                <a:cubicBezTo>
                  <a:pt x="289497" y="361293"/>
                  <a:pt x="305709" y="302897"/>
                  <a:pt x="334659" y="252276"/>
                </a:cubicBezTo>
                <a:cubicBezTo>
                  <a:pt x="334990" y="251615"/>
                  <a:pt x="335486" y="250953"/>
                  <a:pt x="335817" y="250291"/>
                </a:cubicBezTo>
                <a:lnTo>
                  <a:pt x="480400" y="0"/>
                </a:lnTo>
                <a:lnTo>
                  <a:pt x="1440870" y="0"/>
                </a:lnTo>
                <a:lnTo>
                  <a:pt x="1576685" y="235072"/>
                </a:lnTo>
                <a:lnTo>
                  <a:pt x="1587107" y="253269"/>
                </a:lnTo>
                <a:cubicBezTo>
                  <a:pt x="1588596" y="255916"/>
                  <a:pt x="1590085" y="258397"/>
                  <a:pt x="1591739" y="261044"/>
                </a:cubicBezTo>
                <a:cubicBezTo>
                  <a:pt x="1620854" y="308521"/>
                  <a:pt x="1660722" y="346901"/>
                  <a:pt x="1696785" y="326057"/>
                </a:cubicBezTo>
                <a:cubicBezTo>
                  <a:pt x="1734668" y="304055"/>
                  <a:pt x="1704064" y="271135"/>
                  <a:pt x="1744924" y="247479"/>
                </a:cubicBezTo>
                <a:cubicBezTo>
                  <a:pt x="1785950" y="223823"/>
                  <a:pt x="1840541" y="324899"/>
                  <a:pt x="1840541" y="324899"/>
                </a:cubicBezTo>
                <a:cubicBezTo>
                  <a:pt x="1840541" y="324899"/>
                  <a:pt x="1841369" y="326553"/>
                  <a:pt x="1843023" y="329365"/>
                </a:cubicBezTo>
                <a:cubicBezTo>
                  <a:pt x="1854106" y="348555"/>
                  <a:pt x="1895794" y="425644"/>
                  <a:pt x="1860062" y="446322"/>
                </a:cubicBezTo>
                <a:cubicBezTo>
                  <a:pt x="1819201" y="469978"/>
                  <a:pt x="1805967" y="426967"/>
                  <a:pt x="1767919" y="448969"/>
                </a:cubicBezTo>
                <a:cubicBezTo>
                  <a:pt x="1730864" y="470475"/>
                  <a:pt x="1746248" y="527547"/>
                  <a:pt x="1774536" y="577837"/>
                </a:cubicBezTo>
                <a:cubicBezTo>
                  <a:pt x="1775198" y="579160"/>
                  <a:pt x="1776025" y="580318"/>
                  <a:pt x="1776687" y="581641"/>
                </a:cubicBezTo>
                <a:lnTo>
                  <a:pt x="1921270" y="831933"/>
                </a:lnTo>
                <a:close/>
              </a:path>
            </a:pathLst>
          </a:custGeom>
          <a:solidFill>
            <a:schemeClr val="bg2"/>
          </a:solidFill>
          <a:ln w="16536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0" name="Freihandform: Form 22">
            <a:extLst>
              <a:ext uri="{FF2B5EF4-FFF2-40B4-BE49-F238E27FC236}">
                <a16:creationId xmlns:a16="http://schemas.microsoft.com/office/drawing/2014/main" id="{67A4DBC2-3BA3-1FD4-1776-BCC31D41EC7F}"/>
              </a:ext>
            </a:extLst>
          </p:cNvPr>
          <p:cNvSpPr>
            <a:spLocks/>
          </p:cNvSpPr>
          <p:nvPr/>
        </p:nvSpPr>
        <p:spPr>
          <a:xfrm>
            <a:off x="6594656" y="2559721"/>
            <a:ext cx="1921269" cy="1663865"/>
          </a:xfrm>
          <a:custGeom>
            <a:avLst/>
            <a:gdLst>
              <a:gd name="connsiteX0" fmla="*/ 1843023 w 1921269"/>
              <a:gd name="connsiteY0" fmla="*/ 1334500 h 1663865"/>
              <a:gd name="connsiteX1" fmla="*/ 1840541 w 1921269"/>
              <a:gd name="connsiteY1" fmla="*/ 1338967 h 1663865"/>
              <a:gd name="connsiteX2" fmla="*/ 1744925 w 1921269"/>
              <a:gd name="connsiteY2" fmla="*/ 1416386 h 1663865"/>
              <a:gd name="connsiteX3" fmla="*/ 1696785 w 1921269"/>
              <a:gd name="connsiteY3" fmla="*/ 1337809 h 1663865"/>
              <a:gd name="connsiteX4" fmla="*/ 1591573 w 1921269"/>
              <a:gd name="connsiteY4" fmla="*/ 1402987 h 1663865"/>
              <a:gd name="connsiteX5" fmla="*/ 1586942 w 1921269"/>
              <a:gd name="connsiteY5" fmla="*/ 1410762 h 1663865"/>
              <a:gd name="connsiteX6" fmla="*/ 1440870 w 1921269"/>
              <a:gd name="connsiteY6" fmla="*/ 1663865 h 1663865"/>
              <a:gd name="connsiteX7" fmla="*/ 480235 w 1921269"/>
              <a:gd name="connsiteY7" fmla="*/ 1663865 h 1663865"/>
              <a:gd name="connsiteX8" fmla="*/ 335652 w 1921269"/>
              <a:gd name="connsiteY8" fmla="*/ 1413574 h 1663865"/>
              <a:gd name="connsiteX9" fmla="*/ 333501 w 1921269"/>
              <a:gd name="connsiteY9" fmla="*/ 1409769 h 1663865"/>
              <a:gd name="connsiteX10" fmla="*/ 326884 w 1921269"/>
              <a:gd name="connsiteY10" fmla="*/ 1280902 h 1663865"/>
              <a:gd name="connsiteX11" fmla="*/ 419027 w 1921269"/>
              <a:gd name="connsiteY11" fmla="*/ 1278255 h 1663865"/>
              <a:gd name="connsiteX12" fmla="*/ 401988 w 1921269"/>
              <a:gd name="connsiteY12" fmla="*/ 1161298 h 1663865"/>
              <a:gd name="connsiteX13" fmla="*/ 399506 w 1921269"/>
              <a:gd name="connsiteY13" fmla="*/ 1156831 h 1663865"/>
              <a:gd name="connsiteX14" fmla="*/ 303889 w 1921269"/>
              <a:gd name="connsiteY14" fmla="*/ 1079411 h 1663865"/>
              <a:gd name="connsiteX15" fmla="*/ 255750 w 1921269"/>
              <a:gd name="connsiteY15" fmla="*/ 1157989 h 1663865"/>
              <a:gd name="connsiteX16" fmla="*/ 150704 w 1921269"/>
              <a:gd name="connsiteY16" fmla="*/ 1092977 h 1663865"/>
              <a:gd name="connsiteX17" fmla="*/ 146072 w 1921269"/>
              <a:gd name="connsiteY17" fmla="*/ 1085201 h 1663865"/>
              <a:gd name="connsiteX18" fmla="*/ 135650 w 1921269"/>
              <a:gd name="connsiteY18" fmla="*/ 1067004 h 1663865"/>
              <a:gd name="connsiteX19" fmla="*/ 0 w 1921269"/>
              <a:gd name="connsiteY19" fmla="*/ 831933 h 1663865"/>
              <a:gd name="connsiteX20" fmla="*/ 0 w 1921269"/>
              <a:gd name="connsiteY20" fmla="*/ 831933 h 1663865"/>
              <a:gd name="connsiteX21" fmla="*/ 480235 w 1921269"/>
              <a:gd name="connsiteY21" fmla="*/ 0 h 1663865"/>
              <a:gd name="connsiteX22" fmla="*/ 1440870 w 1921269"/>
              <a:gd name="connsiteY22" fmla="*/ 0 h 1663865"/>
              <a:gd name="connsiteX23" fmla="*/ 1921270 w 1921269"/>
              <a:gd name="connsiteY23" fmla="*/ 831933 h 1663865"/>
              <a:gd name="connsiteX24" fmla="*/ 1776686 w 1921269"/>
              <a:gd name="connsiteY24" fmla="*/ 1082224 h 1663865"/>
              <a:gd name="connsiteX25" fmla="*/ 1775529 w 1921269"/>
              <a:gd name="connsiteY25" fmla="*/ 1084209 h 1663865"/>
              <a:gd name="connsiteX26" fmla="*/ 1767919 w 1921269"/>
              <a:gd name="connsiteY26" fmla="*/ 1214896 h 1663865"/>
              <a:gd name="connsiteX27" fmla="*/ 1860062 w 1921269"/>
              <a:gd name="connsiteY27" fmla="*/ 1217543 h 1663865"/>
              <a:gd name="connsiteX28" fmla="*/ 1843023 w 1921269"/>
              <a:gd name="connsiteY28" fmla="*/ 1334500 h 1663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921269" h="1663865">
                <a:moveTo>
                  <a:pt x="1843023" y="1334500"/>
                </a:moveTo>
                <a:cubicBezTo>
                  <a:pt x="1841368" y="1337312"/>
                  <a:pt x="1840541" y="1338967"/>
                  <a:pt x="1840541" y="1338967"/>
                </a:cubicBezTo>
                <a:cubicBezTo>
                  <a:pt x="1840541" y="1338967"/>
                  <a:pt x="1785950" y="1440042"/>
                  <a:pt x="1744925" y="1416386"/>
                </a:cubicBezTo>
                <a:cubicBezTo>
                  <a:pt x="1704064" y="1392730"/>
                  <a:pt x="1734668" y="1359810"/>
                  <a:pt x="1696785" y="1337809"/>
                </a:cubicBezTo>
                <a:cubicBezTo>
                  <a:pt x="1660722" y="1316965"/>
                  <a:pt x="1620854" y="1355344"/>
                  <a:pt x="1591573" y="1402987"/>
                </a:cubicBezTo>
                <a:cubicBezTo>
                  <a:pt x="1590085" y="1405634"/>
                  <a:pt x="1588431" y="1408115"/>
                  <a:pt x="1586942" y="1410762"/>
                </a:cubicBezTo>
                <a:lnTo>
                  <a:pt x="1440870" y="1663865"/>
                </a:lnTo>
                <a:lnTo>
                  <a:pt x="480235" y="1663865"/>
                </a:lnTo>
                <a:lnTo>
                  <a:pt x="335652" y="1413574"/>
                </a:lnTo>
                <a:cubicBezTo>
                  <a:pt x="334990" y="1412251"/>
                  <a:pt x="334163" y="1411093"/>
                  <a:pt x="333501" y="1409769"/>
                </a:cubicBezTo>
                <a:cubicBezTo>
                  <a:pt x="305213" y="1359479"/>
                  <a:pt x="289829" y="1302407"/>
                  <a:pt x="326884" y="1280902"/>
                </a:cubicBezTo>
                <a:cubicBezTo>
                  <a:pt x="364932" y="1258900"/>
                  <a:pt x="378166" y="1301911"/>
                  <a:pt x="419027" y="1278255"/>
                </a:cubicBezTo>
                <a:cubicBezTo>
                  <a:pt x="454759" y="1257576"/>
                  <a:pt x="413071" y="1180487"/>
                  <a:pt x="401988" y="1161298"/>
                </a:cubicBezTo>
                <a:cubicBezTo>
                  <a:pt x="400334" y="1158486"/>
                  <a:pt x="399506" y="1156831"/>
                  <a:pt x="399506" y="1156831"/>
                </a:cubicBezTo>
                <a:cubicBezTo>
                  <a:pt x="399506" y="1156831"/>
                  <a:pt x="344915" y="1055755"/>
                  <a:pt x="303889" y="1079411"/>
                </a:cubicBezTo>
                <a:cubicBezTo>
                  <a:pt x="263029" y="1103068"/>
                  <a:pt x="293633" y="1135988"/>
                  <a:pt x="255750" y="1157989"/>
                </a:cubicBezTo>
                <a:cubicBezTo>
                  <a:pt x="219687" y="1178833"/>
                  <a:pt x="179819" y="1140454"/>
                  <a:pt x="150704" y="1092977"/>
                </a:cubicBezTo>
                <a:cubicBezTo>
                  <a:pt x="149050" y="1090330"/>
                  <a:pt x="147561" y="1087848"/>
                  <a:pt x="146072" y="1085201"/>
                </a:cubicBezTo>
                <a:lnTo>
                  <a:pt x="135650" y="1067004"/>
                </a:lnTo>
                <a:lnTo>
                  <a:pt x="0" y="831933"/>
                </a:lnTo>
                <a:lnTo>
                  <a:pt x="0" y="831933"/>
                </a:lnTo>
                <a:lnTo>
                  <a:pt x="480235" y="0"/>
                </a:lnTo>
                <a:lnTo>
                  <a:pt x="1440870" y="0"/>
                </a:lnTo>
                <a:lnTo>
                  <a:pt x="1921270" y="831933"/>
                </a:lnTo>
                <a:lnTo>
                  <a:pt x="1776686" y="1082224"/>
                </a:lnTo>
                <a:cubicBezTo>
                  <a:pt x="1776686" y="1082224"/>
                  <a:pt x="1775859" y="1083547"/>
                  <a:pt x="1775529" y="1084209"/>
                </a:cubicBezTo>
                <a:cubicBezTo>
                  <a:pt x="1746579" y="1134830"/>
                  <a:pt x="1730367" y="1193225"/>
                  <a:pt x="1767919" y="1214896"/>
                </a:cubicBezTo>
                <a:cubicBezTo>
                  <a:pt x="1805802" y="1236898"/>
                  <a:pt x="1819201" y="1193887"/>
                  <a:pt x="1860062" y="1217543"/>
                </a:cubicBezTo>
                <a:cubicBezTo>
                  <a:pt x="1895794" y="1238221"/>
                  <a:pt x="1854107" y="1315310"/>
                  <a:pt x="1843023" y="1334500"/>
                </a:cubicBezTo>
                <a:close/>
              </a:path>
            </a:pathLst>
          </a:custGeom>
          <a:solidFill>
            <a:schemeClr val="bg2"/>
          </a:solidFill>
          <a:ln w="16536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1" name="Freihandform: Form 23">
            <a:extLst>
              <a:ext uri="{FF2B5EF4-FFF2-40B4-BE49-F238E27FC236}">
                <a16:creationId xmlns:a16="http://schemas.microsoft.com/office/drawing/2014/main" id="{CC6EF35A-0E77-A342-37FE-62D46BC13C20}"/>
              </a:ext>
            </a:extLst>
          </p:cNvPr>
          <p:cNvSpPr>
            <a:spLocks/>
          </p:cNvSpPr>
          <p:nvPr/>
        </p:nvSpPr>
        <p:spPr>
          <a:xfrm>
            <a:off x="8035525" y="3391653"/>
            <a:ext cx="1921269" cy="1663865"/>
          </a:xfrm>
          <a:custGeom>
            <a:avLst/>
            <a:gdLst>
              <a:gd name="connsiteX0" fmla="*/ 1921270 w 1921269"/>
              <a:gd name="connsiteY0" fmla="*/ 831933 h 1663865"/>
              <a:gd name="connsiteX1" fmla="*/ 1441035 w 1921269"/>
              <a:gd name="connsiteY1" fmla="*/ 1663865 h 1663865"/>
              <a:gd name="connsiteX2" fmla="*/ 480400 w 1921269"/>
              <a:gd name="connsiteY2" fmla="*/ 1663865 h 1663865"/>
              <a:gd name="connsiteX3" fmla="*/ 0 w 1921269"/>
              <a:gd name="connsiteY3" fmla="*/ 831933 h 1663865"/>
              <a:gd name="connsiteX4" fmla="*/ 146072 w 1921269"/>
              <a:gd name="connsiteY4" fmla="*/ 578829 h 1663865"/>
              <a:gd name="connsiteX5" fmla="*/ 150704 w 1921269"/>
              <a:gd name="connsiteY5" fmla="*/ 571054 h 1663865"/>
              <a:gd name="connsiteX6" fmla="*/ 255916 w 1921269"/>
              <a:gd name="connsiteY6" fmla="*/ 505876 h 1663865"/>
              <a:gd name="connsiteX7" fmla="*/ 304055 w 1921269"/>
              <a:gd name="connsiteY7" fmla="*/ 584454 h 1663865"/>
              <a:gd name="connsiteX8" fmla="*/ 399672 w 1921269"/>
              <a:gd name="connsiteY8" fmla="*/ 507034 h 1663865"/>
              <a:gd name="connsiteX9" fmla="*/ 402153 w 1921269"/>
              <a:gd name="connsiteY9" fmla="*/ 502567 h 1663865"/>
              <a:gd name="connsiteX10" fmla="*/ 419192 w 1921269"/>
              <a:gd name="connsiteY10" fmla="*/ 385610 h 1663865"/>
              <a:gd name="connsiteX11" fmla="*/ 327049 w 1921269"/>
              <a:gd name="connsiteY11" fmla="*/ 382964 h 1663865"/>
              <a:gd name="connsiteX12" fmla="*/ 334659 w 1921269"/>
              <a:gd name="connsiteY12" fmla="*/ 252276 h 1663865"/>
              <a:gd name="connsiteX13" fmla="*/ 335817 w 1921269"/>
              <a:gd name="connsiteY13" fmla="*/ 250291 h 1663865"/>
              <a:gd name="connsiteX14" fmla="*/ 480400 w 1921269"/>
              <a:gd name="connsiteY14" fmla="*/ 0 h 1663865"/>
              <a:gd name="connsiteX15" fmla="*/ 1441035 w 1921269"/>
              <a:gd name="connsiteY15" fmla="*/ 0 h 1663865"/>
              <a:gd name="connsiteX16" fmla="*/ 1921270 w 1921269"/>
              <a:gd name="connsiteY16" fmla="*/ 831933 h 1663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921269" h="1663865">
                <a:moveTo>
                  <a:pt x="1921270" y="831933"/>
                </a:moveTo>
                <a:lnTo>
                  <a:pt x="1441035" y="1663865"/>
                </a:lnTo>
                <a:lnTo>
                  <a:pt x="480400" y="1663865"/>
                </a:lnTo>
                <a:lnTo>
                  <a:pt x="0" y="831933"/>
                </a:lnTo>
                <a:lnTo>
                  <a:pt x="146072" y="578829"/>
                </a:lnTo>
                <a:cubicBezTo>
                  <a:pt x="147561" y="576182"/>
                  <a:pt x="149215" y="573701"/>
                  <a:pt x="150704" y="571054"/>
                </a:cubicBezTo>
                <a:cubicBezTo>
                  <a:pt x="179985" y="523411"/>
                  <a:pt x="219853" y="485032"/>
                  <a:pt x="255916" y="505876"/>
                </a:cubicBezTo>
                <a:cubicBezTo>
                  <a:pt x="293799" y="527878"/>
                  <a:pt x="263194" y="560798"/>
                  <a:pt x="304055" y="584454"/>
                </a:cubicBezTo>
                <a:cubicBezTo>
                  <a:pt x="345081" y="608110"/>
                  <a:pt x="399672" y="507034"/>
                  <a:pt x="399672" y="507034"/>
                </a:cubicBezTo>
                <a:cubicBezTo>
                  <a:pt x="399672" y="507034"/>
                  <a:pt x="400499" y="505380"/>
                  <a:pt x="402153" y="502567"/>
                </a:cubicBezTo>
                <a:cubicBezTo>
                  <a:pt x="413237" y="483378"/>
                  <a:pt x="454924" y="406289"/>
                  <a:pt x="419192" y="385610"/>
                </a:cubicBezTo>
                <a:cubicBezTo>
                  <a:pt x="378332" y="361954"/>
                  <a:pt x="364932" y="404965"/>
                  <a:pt x="327049" y="382964"/>
                </a:cubicBezTo>
                <a:cubicBezTo>
                  <a:pt x="289497" y="361293"/>
                  <a:pt x="305709" y="302897"/>
                  <a:pt x="334659" y="252276"/>
                </a:cubicBezTo>
                <a:cubicBezTo>
                  <a:pt x="334990" y="251615"/>
                  <a:pt x="335486" y="250953"/>
                  <a:pt x="335817" y="250291"/>
                </a:cubicBezTo>
                <a:lnTo>
                  <a:pt x="480400" y="0"/>
                </a:lnTo>
                <a:lnTo>
                  <a:pt x="1441035" y="0"/>
                </a:lnTo>
                <a:lnTo>
                  <a:pt x="1921270" y="831933"/>
                </a:lnTo>
                <a:close/>
              </a:path>
            </a:pathLst>
          </a:custGeom>
          <a:solidFill>
            <a:schemeClr val="bg2"/>
          </a:solidFill>
          <a:ln w="16536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3" name="TextBox 41">
            <a:extLst>
              <a:ext uri="{FF2B5EF4-FFF2-40B4-BE49-F238E27FC236}">
                <a16:creationId xmlns:a16="http://schemas.microsoft.com/office/drawing/2014/main" id="{74A29C33-970E-57B6-4323-AB9DEC589E89}"/>
              </a:ext>
            </a:extLst>
          </p:cNvPr>
          <p:cNvSpPr txBox="1">
            <a:spLocks/>
          </p:cNvSpPr>
          <p:nvPr/>
        </p:nvSpPr>
        <p:spPr>
          <a:xfrm>
            <a:off x="2947262" y="3778241"/>
            <a:ext cx="570176" cy="890689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631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36" b="1" i="0" u="none" strike="noStrike" kern="1200" cap="none" spc="-127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Source Sans Pro" panose="020B0503030403020204" pitchFamily="34" charset="0"/>
              </a:rPr>
              <a:t>A</a:t>
            </a:r>
          </a:p>
        </p:txBody>
      </p:sp>
      <p:sp>
        <p:nvSpPr>
          <p:cNvPr id="34" name="TextBox 41">
            <a:extLst>
              <a:ext uri="{FF2B5EF4-FFF2-40B4-BE49-F238E27FC236}">
                <a16:creationId xmlns:a16="http://schemas.microsoft.com/office/drawing/2014/main" id="{9E1D643B-5935-13F8-1B65-A37F2D0685C5}"/>
              </a:ext>
            </a:extLst>
          </p:cNvPr>
          <p:cNvSpPr txBox="1">
            <a:spLocks/>
          </p:cNvSpPr>
          <p:nvPr/>
        </p:nvSpPr>
        <p:spPr>
          <a:xfrm>
            <a:off x="4388215" y="2946309"/>
            <a:ext cx="570176" cy="890689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631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36" b="1" i="0" u="none" strike="noStrike" kern="1200" cap="none" spc="-127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Source Sans Pro" panose="020B0503030403020204" pitchFamily="34" charset="0"/>
              </a:rPr>
              <a:t>B</a:t>
            </a:r>
          </a:p>
        </p:txBody>
      </p:sp>
      <p:sp>
        <p:nvSpPr>
          <p:cNvPr id="35" name="TextBox 41">
            <a:extLst>
              <a:ext uri="{FF2B5EF4-FFF2-40B4-BE49-F238E27FC236}">
                <a16:creationId xmlns:a16="http://schemas.microsoft.com/office/drawing/2014/main" id="{25F7590A-9461-3778-B9A8-D2A6EE10063B}"/>
              </a:ext>
            </a:extLst>
          </p:cNvPr>
          <p:cNvSpPr txBox="1">
            <a:spLocks/>
          </p:cNvSpPr>
          <p:nvPr/>
        </p:nvSpPr>
        <p:spPr>
          <a:xfrm>
            <a:off x="5829167" y="3778241"/>
            <a:ext cx="570176" cy="890689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631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36" b="1" i="0" u="none" strike="noStrike" kern="1200" cap="none" spc="-127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Source Sans Pro" panose="020B0503030403020204" pitchFamily="34" charset="0"/>
              </a:rPr>
              <a:t>C</a:t>
            </a:r>
          </a:p>
        </p:txBody>
      </p:sp>
      <p:sp>
        <p:nvSpPr>
          <p:cNvPr id="36" name="TextBox 41">
            <a:extLst>
              <a:ext uri="{FF2B5EF4-FFF2-40B4-BE49-F238E27FC236}">
                <a16:creationId xmlns:a16="http://schemas.microsoft.com/office/drawing/2014/main" id="{01FBBB48-64F9-166D-F028-A40844BB910F}"/>
              </a:ext>
            </a:extLst>
          </p:cNvPr>
          <p:cNvSpPr txBox="1">
            <a:spLocks/>
          </p:cNvSpPr>
          <p:nvPr/>
        </p:nvSpPr>
        <p:spPr>
          <a:xfrm>
            <a:off x="7270202" y="2946309"/>
            <a:ext cx="570176" cy="890689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631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36" b="1" i="0" u="none" strike="noStrike" kern="1200" cap="none" spc="-127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Source Sans Pro" panose="020B0503030403020204" pitchFamily="34" charset="0"/>
              </a:rPr>
              <a:t>D</a:t>
            </a:r>
          </a:p>
        </p:txBody>
      </p:sp>
      <p:sp>
        <p:nvSpPr>
          <p:cNvPr id="37" name="TextBox 41">
            <a:extLst>
              <a:ext uri="{FF2B5EF4-FFF2-40B4-BE49-F238E27FC236}">
                <a16:creationId xmlns:a16="http://schemas.microsoft.com/office/drawing/2014/main" id="{F84A34FA-3284-23DC-6B07-F27CB04585FC}"/>
              </a:ext>
            </a:extLst>
          </p:cNvPr>
          <p:cNvSpPr txBox="1">
            <a:spLocks/>
          </p:cNvSpPr>
          <p:nvPr/>
        </p:nvSpPr>
        <p:spPr>
          <a:xfrm>
            <a:off x="8711071" y="3778241"/>
            <a:ext cx="570176" cy="890689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631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36" b="1" i="0" u="none" strike="noStrike" kern="1200" cap="none" spc="-127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Source Sans Pro" panose="020B0503030403020204" pitchFamily="34" charset="0"/>
              </a:rPr>
              <a:t>E</a:t>
            </a:r>
          </a:p>
        </p:txBody>
      </p:sp>
      <p:sp>
        <p:nvSpPr>
          <p:cNvPr id="39" name="Textfeld 29">
            <a:extLst>
              <a:ext uri="{FF2B5EF4-FFF2-40B4-BE49-F238E27FC236}">
                <a16:creationId xmlns:a16="http://schemas.microsoft.com/office/drawing/2014/main" id="{12DEA7A4-0051-A7DE-B55B-E9ECFF2A8A2B}"/>
              </a:ext>
            </a:extLst>
          </p:cNvPr>
          <p:cNvSpPr txBox="1">
            <a:spLocks/>
          </p:cNvSpPr>
          <p:nvPr/>
        </p:nvSpPr>
        <p:spPr>
          <a:xfrm>
            <a:off x="2235601" y="1557338"/>
            <a:ext cx="1993500" cy="723275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0" lvl="1" algn="ctr">
              <a:spcAft>
                <a:spcPts val="600"/>
              </a:spcAft>
              <a:buClr>
                <a:srgbClr val="000000"/>
              </a:buClr>
            </a:pPr>
            <a:r>
              <a:rPr lang="en-US" sz="1400" dirty="0">
                <a:sym typeface="Futura"/>
              </a:rPr>
              <a:t>Lorem ipsum dolor sit ut enim ad minim</a:t>
            </a:r>
          </a:p>
        </p:txBody>
      </p:sp>
      <p:sp>
        <p:nvSpPr>
          <p:cNvPr id="40" name="Textfeld 29">
            <a:extLst>
              <a:ext uri="{FF2B5EF4-FFF2-40B4-BE49-F238E27FC236}">
                <a16:creationId xmlns:a16="http://schemas.microsoft.com/office/drawing/2014/main" id="{A0E4B59D-DAC9-33C9-019F-DF0A53821DAA}"/>
              </a:ext>
            </a:extLst>
          </p:cNvPr>
          <p:cNvSpPr txBox="1">
            <a:spLocks/>
          </p:cNvSpPr>
          <p:nvPr/>
        </p:nvSpPr>
        <p:spPr>
          <a:xfrm>
            <a:off x="7999410" y="1557338"/>
            <a:ext cx="1993500" cy="723275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0" lvl="1" algn="ctr">
              <a:spcAft>
                <a:spcPts val="600"/>
              </a:spcAft>
              <a:buClr>
                <a:srgbClr val="000000"/>
              </a:buClr>
            </a:pPr>
            <a:r>
              <a:rPr lang="en-US" sz="1400" dirty="0">
                <a:sym typeface="Futura"/>
              </a:rPr>
              <a:t>Lorem ipsum dolor sit ut enim ad minim</a:t>
            </a:r>
          </a:p>
        </p:txBody>
      </p:sp>
      <p:sp>
        <p:nvSpPr>
          <p:cNvPr id="41" name="Textfeld 29">
            <a:extLst>
              <a:ext uri="{FF2B5EF4-FFF2-40B4-BE49-F238E27FC236}">
                <a16:creationId xmlns:a16="http://schemas.microsoft.com/office/drawing/2014/main" id="{83612463-1F85-67F5-2511-4B8760FD6977}"/>
              </a:ext>
            </a:extLst>
          </p:cNvPr>
          <p:cNvSpPr txBox="1">
            <a:spLocks/>
          </p:cNvSpPr>
          <p:nvPr/>
        </p:nvSpPr>
        <p:spPr>
          <a:xfrm>
            <a:off x="5117506" y="1557338"/>
            <a:ext cx="1993500" cy="723275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0" lvl="1" algn="ctr">
              <a:spcAft>
                <a:spcPts val="600"/>
              </a:spcAft>
              <a:buClr>
                <a:srgbClr val="000000"/>
              </a:buClr>
            </a:pPr>
            <a:r>
              <a:rPr lang="en-US" sz="1400" dirty="0">
                <a:sym typeface="Futura"/>
              </a:rPr>
              <a:t>Lorem ipsum dolor sit ut enim ad minim</a:t>
            </a:r>
          </a:p>
        </p:txBody>
      </p:sp>
      <p:sp>
        <p:nvSpPr>
          <p:cNvPr id="43" name="Textfeld 29">
            <a:extLst>
              <a:ext uri="{FF2B5EF4-FFF2-40B4-BE49-F238E27FC236}">
                <a16:creationId xmlns:a16="http://schemas.microsoft.com/office/drawing/2014/main" id="{31360380-E98B-8FFF-A26B-D858A146022A}"/>
              </a:ext>
            </a:extLst>
          </p:cNvPr>
          <p:cNvSpPr txBox="1">
            <a:spLocks/>
          </p:cNvSpPr>
          <p:nvPr/>
        </p:nvSpPr>
        <p:spPr>
          <a:xfrm>
            <a:off x="3676554" y="5334625"/>
            <a:ext cx="1993500" cy="723275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0" lvl="1" algn="ctr">
              <a:spcAft>
                <a:spcPts val="600"/>
              </a:spcAft>
              <a:buClr>
                <a:srgbClr val="000000"/>
              </a:buClr>
            </a:pPr>
            <a:r>
              <a:rPr lang="en-US" sz="1400" dirty="0">
                <a:sym typeface="Futura"/>
              </a:rPr>
              <a:t>Lorem ipsum dolor sit ut enim ad minim</a:t>
            </a:r>
          </a:p>
        </p:txBody>
      </p:sp>
      <p:sp>
        <p:nvSpPr>
          <p:cNvPr id="44" name="Textfeld 29">
            <a:extLst>
              <a:ext uri="{FF2B5EF4-FFF2-40B4-BE49-F238E27FC236}">
                <a16:creationId xmlns:a16="http://schemas.microsoft.com/office/drawing/2014/main" id="{71D0D934-4BA9-02D3-2166-6EEDA418F9CE}"/>
              </a:ext>
            </a:extLst>
          </p:cNvPr>
          <p:cNvSpPr txBox="1">
            <a:spLocks/>
          </p:cNvSpPr>
          <p:nvPr/>
        </p:nvSpPr>
        <p:spPr>
          <a:xfrm>
            <a:off x="6558458" y="5334625"/>
            <a:ext cx="1993500" cy="723275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0" lvl="1" algn="ctr">
              <a:spcAft>
                <a:spcPts val="600"/>
              </a:spcAft>
              <a:buClr>
                <a:srgbClr val="000000"/>
              </a:buClr>
            </a:pPr>
            <a:r>
              <a:rPr lang="en-US" sz="1400" dirty="0">
                <a:sym typeface="Futura"/>
              </a:rPr>
              <a:t>Lorem ipsum dolor sit ut enim ad minim</a:t>
            </a:r>
          </a:p>
        </p:txBody>
      </p:sp>
      <p:cxnSp>
        <p:nvCxnSpPr>
          <p:cNvPr id="45" name="Gerader Verbinder 39">
            <a:extLst>
              <a:ext uri="{FF2B5EF4-FFF2-40B4-BE49-F238E27FC236}">
                <a16:creationId xmlns:a16="http://schemas.microsoft.com/office/drawing/2014/main" id="{71320E23-D0B2-AD22-0DF6-A109B2E8BBF5}"/>
              </a:ext>
            </a:extLst>
          </p:cNvPr>
          <p:cNvCxnSpPr>
            <a:cxnSpLocks/>
          </p:cNvCxnSpPr>
          <p:nvPr/>
        </p:nvCxnSpPr>
        <p:spPr>
          <a:xfrm flipV="1">
            <a:off x="3232350" y="2559721"/>
            <a:ext cx="0" cy="67056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39">
            <a:extLst>
              <a:ext uri="{FF2B5EF4-FFF2-40B4-BE49-F238E27FC236}">
                <a16:creationId xmlns:a16="http://schemas.microsoft.com/office/drawing/2014/main" id="{1AC0D9B6-44F2-3C68-CB23-E798F480816A}"/>
              </a:ext>
            </a:extLst>
          </p:cNvPr>
          <p:cNvCxnSpPr>
            <a:cxnSpLocks/>
          </p:cNvCxnSpPr>
          <p:nvPr/>
        </p:nvCxnSpPr>
        <p:spPr>
          <a:xfrm flipV="1">
            <a:off x="6114255" y="2559721"/>
            <a:ext cx="0" cy="67056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39">
            <a:extLst>
              <a:ext uri="{FF2B5EF4-FFF2-40B4-BE49-F238E27FC236}">
                <a16:creationId xmlns:a16="http://schemas.microsoft.com/office/drawing/2014/main" id="{370E4147-1126-9453-1C4D-EA16DFF071A4}"/>
              </a:ext>
            </a:extLst>
          </p:cNvPr>
          <p:cNvCxnSpPr>
            <a:cxnSpLocks/>
          </p:cNvCxnSpPr>
          <p:nvPr/>
        </p:nvCxnSpPr>
        <p:spPr>
          <a:xfrm flipV="1">
            <a:off x="8996159" y="2559721"/>
            <a:ext cx="0" cy="67056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39">
            <a:extLst>
              <a:ext uri="{FF2B5EF4-FFF2-40B4-BE49-F238E27FC236}">
                <a16:creationId xmlns:a16="http://schemas.microsoft.com/office/drawing/2014/main" id="{0294FB79-D0A3-8BED-AC8D-E85DF4D458F0}"/>
              </a:ext>
            </a:extLst>
          </p:cNvPr>
          <p:cNvCxnSpPr>
            <a:cxnSpLocks/>
          </p:cNvCxnSpPr>
          <p:nvPr/>
        </p:nvCxnSpPr>
        <p:spPr>
          <a:xfrm flipV="1">
            <a:off x="4673303" y="4384958"/>
            <a:ext cx="0" cy="67056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39">
            <a:extLst>
              <a:ext uri="{FF2B5EF4-FFF2-40B4-BE49-F238E27FC236}">
                <a16:creationId xmlns:a16="http://schemas.microsoft.com/office/drawing/2014/main" id="{5C6945F1-9E92-B570-EEF1-13AAADA2747A}"/>
              </a:ext>
            </a:extLst>
          </p:cNvPr>
          <p:cNvCxnSpPr>
            <a:cxnSpLocks/>
          </p:cNvCxnSpPr>
          <p:nvPr/>
        </p:nvCxnSpPr>
        <p:spPr>
          <a:xfrm flipV="1">
            <a:off x="7555208" y="4384958"/>
            <a:ext cx="0" cy="67056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28212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49" imgH="350" progId="TCLayout.ActiveDocument.1">
                  <p:embed/>
                </p:oleObj>
              </mc:Choice>
              <mc:Fallback>
                <p:oleObj name="think-cell Slide" r:id="rId13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22">
            <a:extLst>
              <a:ext uri="{FF2B5EF4-FFF2-40B4-BE49-F238E27FC236}">
                <a16:creationId xmlns:a16="http://schemas.microsoft.com/office/drawing/2014/main" id="{42538E75-C6F1-6F83-48D4-59AEE900A0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>
            <a:spAutoFit/>
          </a:bodyPr>
          <a:lstStyle/>
          <a:p>
            <a:r>
              <a:rPr lang="en-US" dirty="0"/>
              <a:t>SWOT analysis showing key risks and opportuniti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DF61103-44CF-E43F-56D5-6A995FB8EB55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2121728" y="2165158"/>
            <a:ext cx="4295973" cy="1948732"/>
          </a:xfrm>
          <a:prstGeom prst="rect">
            <a:avLst/>
          </a:prstGeom>
          <a:solidFill>
            <a:schemeClr val="bg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5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020762" y="1557338"/>
            <a:ext cx="5399088" cy="612775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txBody>
          <a:bodyPr vert="horz" wrap="none" lIns="90488" tIns="168275" rIns="0" bIns="16986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League Spartan" charset="0"/>
                <a:cs typeface="Poppins" pitchFamily="2" charset="77"/>
              </a:rPr>
              <a:t>Internal factors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02CB8D3-9520-AC82-E8F4-32A848615AD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6419851" y="1557338"/>
            <a:ext cx="5400675" cy="612775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txBody>
          <a:bodyPr vert="horz" wrap="none" lIns="92075" tIns="168275" rIns="0" bIns="16986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>
                <a:solidFill>
                  <a:prstClr val="white"/>
                </a:solidFill>
                <a:ea typeface="League Spartan" charset="0"/>
                <a:cs typeface="Poppins" pitchFamily="2" charset="77"/>
              </a:rPr>
              <a:t>Ex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League Spartan" charset="0"/>
                <a:cs typeface="Poppins" pitchFamily="2" charset="77"/>
              </a:rPr>
              <a:t>ternal factors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39D5BD7F-9CE5-CCA8-8AC1-8FD3618C5640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020762" y="2170113"/>
            <a:ext cx="5399088" cy="19367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90488" tIns="90488" rIns="0" bIns="49212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League Spartan" charset="0"/>
                <a:cs typeface="Poppins" pitchFamily="2" charset="77"/>
              </a:rPr>
              <a:t>Strengths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Lorem ipsum dolor sit amet, </a:t>
            </a:r>
            <a:br>
              <a:rPr lang="en-US" sz="1400" dirty="0"/>
            </a:br>
            <a:r>
              <a:rPr lang="en-US" sz="1400" dirty="0"/>
              <a:t>consectetur adipiscing elit tempor 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Quis nostrud exercitation ullamco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Duis aute irure dolor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753344DD-9F2B-4799-9CDB-2B1D6E0DF86C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6419851" y="2170113"/>
            <a:ext cx="5400675" cy="19367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92075" tIns="90488" rIns="0" bIns="49212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+mn-lt"/>
              </a:rPr>
              <a:t>Opportunities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League Spartan" charset="0"/>
              <a:cs typeface="Poppins" pitchFamily="2" charset="77"/>
            </a:endParaRP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Lorem ipsum dolor sit amet, </a:t>
            </a:r>
            <a:br>
              <a:rPr lang="en-US" sz="1400" dirty="0"/>
            </a:br>
            <a:r>
              <a:rPr lang="en-US" sz="1400" dirty="0"/>
              <a:t>consectetur adipiscing elit tempor 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Quis nostrud exercitation ullamco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Duis aute irure dolor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B9848437-CA3B-AD5B-BC10-15BAA92DBB0D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020762" y="4106862"/>
            <a:ext cx="5399088" cy="195103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90488" tIns="92075" rIns="0" bIns="50482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+mn-lt"/>
              </a:rPr>
              <a:t>Weaknesses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League Spartan" charset="0"/>
              <a:cs typeface="Poppins" pitchFamily="2" charset="77"/>
            </a:endParaRP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Lorem ipsum dolor sit amet, </a:t>
            </a:r>
            <a:br>
              <a:rPr lang="en-US" sz="1400" dirty="0"/>
            </a:br>
            <a:r>
              <a:rPr lang="en-US" sz="1400" dirty="0"/>
              <a:t>consectetur adipiscing elit tempor 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Quis nostrud exercitation ullamco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Duis aute irure dolor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FC81C52E-7E12-B16D-6069-753006993500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6419851" y="4106862"/>
            <a:ext cx="5400675" cy="19510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92075" tIns="92075" rIns="0" bIns="50482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+mn-lt"/>
              </a:rPr>
              <a:t>Threats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League Spartan" charset="0"/>
              <a:cs typeface="Poppins" pitchFamily="2" charset="77"/>
            </a:endParaRP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Lorem ipsum dolor sit amet, </a:t>
            </a:r>
            <a:br>
              <a:rPr lang="en-US" sz="1400" dirty="0"/>
            </a:br>
            <a:r>
              <a:rPr lang="en-US" sz="1400" dirty="0"/>
              <a:t>consectetur adipiscing elit tempor 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Quis nostrud exercitation ullamco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Duis aute irure dolor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6FDD23EC-4B87-EE9E-9E29-9B1C66D074B9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407988" y="2170113"/>
            <a:ext cx="612775" cy="1936750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txBody>
          <a:bodyPr vert="vert270" wrap="none" lIns="168275" tIns="0" rIns="169863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>
                <a:solidFill>
                  <a:schemeClr val="bg1"/>
                </a:solidFill>
              </a:rPr>
              <a:t>Positive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A9BA2F6F-39BD-EFB8-A250-FE430541FE68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07988" y="4106862"/>
            <a:ext cx="612775" cy="1951038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txBody>
          <a:bodyPr vert="vert270" wrap="none" lIns="168275" tIns="1588" rIns="169863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>
                <a:solidFill>
                  <a:schemeClr val="bg1"/>
                </a:solidFill>
                <a:cs typeface="Poppins" pitchFamily="2" charset="77"/>
              </a:rPr>
              <a:t>Negative</a:t>
            </a:r>
          </a:p>
        </p:txBody>
      </p:sp>
    </p:spTree>
    <p:extLst>
      <p:ext uri="{BB962C8B-B14F-4D97-AF65-F5344CB8AC3E}">
        <p14:creationId xmlns:p14="http://schemas.microsoft.com/office/powerpoint/2010/main" val="23941818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>
            <a:spAutoFit/>
          </a:bodyPr>
          <a:lstStyle/>
          <a:p>
            <a:r>
              <a:rPr lang="en-US" dirty="0"/>
              <a:t>Upcoming milestones</a:t>
            </a:r>
          </a:p>
        </p:txBody>
      </p:sp>
      <p:cxnSp>
        <p:nvCxnSpPr>
          <p:cNvPr id="19" name="Gerader Verbinder 26">
            <a:extLst>
              <a:ext uri="{FF2B5EF4-FFF2-40B4-BE49-F238E27FC236}">
                <a16:creationId xmlns:a16="http://schemas.microsoft.com/office/drawing/2014/main" id="{6421D1BB-7AAC-C0A5-5AF1-09171F6AF90D}"/>
              </a:ext>
            </a:extLst>
          </p:cNvPr>
          <p:cNvCxnSpPr>
            <a:cxnSpLocks/>
          </p:cNvCxnSpPr>
          <p:nvPr/>
        </p:nvCxnSpPr>
        <p:spPr bwMode="gray">
          <a:xfrm>
            <a:off x="7066272" y="3656890"/>
            <a:ext cx="4754253" cy="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25">
            <a:extLst>
              <a:ext uri="{FF2B5EF4-FFF2-40B4-BE49-F238E27FC236}">
                <a16:creationId xmlns:a16="http://schemas.microsoft.com/office/drawing/2014/main" id="{1E0F9B1A-13DD-A3CE-65B0-0AEA8CC9A598}"/>
              </a:ext>
            </a:extLst>
          </p:cNvPr>
          <p:cNvCxnSpPr>
            <a:cxnSpLocks/>
          </p:cNvCxnSpPr>
          <p:nvPr/>
        </p:nvCxnSpPr>
        <p:spPr bwMode="gray">
          <a:xfrm>
            <a:off x="403200" y="3656890"/>
            <a:ext cx="6658285" cy="0"/>
          </a:xfrm>
          <a:prstGeom prst="line">
            <a:avLst/>
          </a:prstGeom>
          <a:ln w="381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44">
            <a:extLst>
              <a:ext uri="{FF2B5EF4-FFF2-40B4-BE49-F238E27FC236}">
                <a16:creationId xmlns:a16="http://schemas.microsoft.com/office/drawing/2014/main" id="{16B1436D-06B0-13EA-C702-5F56FCD2EEF5}"/>
              </a:ext>
            </a:extLst>
          </p:cNvPr>
          <p:cNvCxnSpPr>
            <a:cxnSpLocks/>
            <a:stCxn id="15" idx="4"/>
          </p:cNvCxnSpPr>
          <p:nvPr/>
        </p:nvCxnSpPr>
        <p:spPr bwMode="gray">
          <a:xfrm flipH="1">
            <a:off x="10762236" y="3186591"/>
            <a:ext cx="1" cy="868372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llipse 12">
            <a:extLst>
              <a:ext uri="{FF2B5EF4-FFF2-40B4-BE49-F238E27FC236}">
                <a16:creationId xmlns:a16="http://schemas.microsoft.com/office/drawing/2014/main" id="{B08A76E6-B0A1-EE4E-D534-D7B9EDD076D1}"/>
              </a:ext>
            </a:extLst>
          </p:cNvPr>
          <p:cNvSpPr>
            <a:spLocks/>
          </p:cNvSpPr>
          <p:nvPr/>
        </p:nvSpPr>
        <p:spPr bwMode="gray">
          <a:xfrm>
            <a:off x="10341241" y="2344600"/>
            <a:ext cx="841991" cy="841991"/>
          </a:xfrm>
          <a:prstGeom prst="ellipse">
            <a:avLst/>
          </a:prstGeom>
          <a:ln w="952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feld 24">
            <a:extLst>
              <a:ext uri="{FF2B5EF4-FFF2-40B4-BE49-F238E27FC236}">
                <a16:creationId xmlns:a16="http://schemas.microsoft.com/office/drawing/2014/main" id="{ADE466FD-F882-A744-696F-932A52EE966E}"/>
              </a:ext>
            </a:extLst>
          </p:cNvPr>
          <p:cNvSpPr txBox="1">
            <a:spLocks/>
          </p:cNvSpPr>
          <p:nvPr/>
        </p:nvSpPr>
        <p:spPr bwMode="gray">
          <a:xfrm>
            <a:off x="9868387" y="4190722"/>
            <a:ext cx="1804394" cy="9925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ple tex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rem ipsum dolor sit amet consetetur sadipscing</a:t>
            </a:r>
          </a:p>
        </p:txBody>
      </p:sp>
      <p:pic>
        <p:nvPicPr>
          <p:cNvPr id="21" name="Grafik 55">
            <a:extLst>
              <a:ext uri="{FF2B5EF4-FFF2-40B4-BE49-F238E27FC236}">
                <a16:creationId xmlns:a16="http://schemas.microsoft.com/office/drawing/2014/main" id="{D91C9432-4535-83A8-F43F-04598DBA58D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504890" y="2508250"/>
            <a:ext cx="514692" cy="514692"/>
          </a:xfrm>
          <a:prstGeom prst="rect">
            <a:avLst/>
          </a:prstGeom>
        </p:spPr>
      </p:pic>
      <p:cxnSp>
        <p:nvCxnSpPr>
          <p:cNvPr id="4" name="Gerade Verbindung 40">
            <a:extLst>
              <a:ext uri="{FF2B5EF4-FFF2-40B4-BE49-F238E27FC236}">
                <a16:creationId xmlns:a16="http://schemas.microsoft.com/office/drawing/2014/main" id="{535F0B64-7A4B-DC23-EA88-B0009DAF66E2}"/>
              </a:ext>
            </a:extLst>
          </p:cNvPr>
          <p:cNvCxnSpPr>
            <a:cxnSpLocks/>
            <a:stCxn id="13" idx="4"/>
          </p:cNvCxnSpPr>
          <p:nvPr/>
        </p:nvCxnSpPr>
        <p:spPr bwMode="gray">
          <a:xfrm flipH="1">
            <a:off x="8419068" y="3186591"/>
            <a:ext cx="1" cy="868372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llipse 14">
            <a:extLst>
              <a:ext uri="{FF2B5EF4-FFF2-40B4-BE49-F238E27FC236}">
                <a16:creationId xmlns:a16="http://schemas.microsoft.com/office/drawing/2014/main" id="{4E117266-4ADA-44D9-2E71-FEA165F5AC7A}"/>
              </a:ext>
            </a:extLst>
          </p:cNvPr>
          <p:cNvSpPr>
            <a:spLocks/>
          </p:cNvSpPr>
          <p:nvPr/>
        </p:nvSpPr>
        <p:spPr bwMode="gray">
          <a:xfrm>
            <a:off x="7998073" y="2344600"/>
            <a:ext cx="841991" cy="841991"/>
          </a:xfrm>
          <a:prstGeom prst="ellipse">
            <a:avLst/>
          </a:prstGeom>
          <a:ln w="952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23">
            <a:extLst>
              <a:ext uri="{FF2B5EF4-FFF2-40B4-BE49-F238E27FC236}">
                <a16:creationId xmlns:a16="http://schemas.microsoft.com/office/drawing/2014/main" id="{DE395F84-4D9C-07A8-0F06-11F3BE187979}"/>
              </a:ext>
            </a:extLst>
          </p:cNvPr>
          <p:cNvSpPr txBox="1">
            <a:spLocks/>
          </p:cNvSpPr>
          <p:nvPr/>
        </p:nvSpPr>
        <p:spPr bwMode="gray">
          <a:xfrm>
            <a:off x="7516872" y="4190722"/>
            <a:ext cx="1804394" cy="9925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ple tex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rem ipsum dolor sit amet consetetur sadipscing</a:t>
            </a:r>
          </a:p>
        </p:txBody>
      </p:sp>
      <p:pic>
        <p:nvPicPr>
          <p:cNvPr id="22" name="Grafik 56">
            <a:extLst>
              <a:ext uri="{FF2B5EF4-FFF2-40B4-BE49-F238E27FC236}">
                <a16:creationId xmlns:a16="http://schemas.microsoft.com/office/drawing/2014/main" id="{DBD3D7F8-FA7B-4AFE-D5BB-43E49765BCE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161721" y="2508250"/>
            <a:ext cx="514692" cy="514692"/>
          </a:xfrm>
          <a:prstGeom prst="rect">
            <a:avLst/>
          </a:prstGeom>
        </p:spPr>
      </p:pic>
      <p:sp>
        <p:nvSpPr>
          <p:cNvPr id="17" name="Ellipse 6">
            <a:extLst>
              <a:ext uri="{FF2B5EF4-FFF2-40B4-BE49-F238E27FC236}">
                <a16:creationId xmlns:a16="http://schemas.microsoft.com/office/drawing/2014/main" id="{960208EE-72F9-FC69-1EA2-4020494F047A}"/>
              </a:ext>
            </a:extLst>
          </p:cNvPr>
          <p:cNvSpPr>
            <a:spLocks/>
          </p:cNvSpPr>
          <p:nvPr/>
        </p:nvSpPr>
        <p:spPr bwMode="gray">
          <a:xfrm>
            <a:off x="5466169" y="2164212"/>
            <a:ext cx="1202768" cy="120276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feld 22">
            <a:extLst>
              <a:ext uri="{FF2B5EF4-FFF2-40B4-BE49-F238E27FC236}">
                <a16:creationId xmlns:a16="http://schemas.microsoft.com/office/drawing/2014/main" id="{FA32CE79-F330-FFE2-D36C-3D21B846EFC1}"/>
              </a:ext>
            </a:extLst>
          </p:cNvPr>
          <p:cNvSpPr txBox="1">
            <a:spLocks/>
          </p:cNvSpPr>
          <p:nvPr/>
        </p:nvSpPr>
        <p:spPr bwMode="gray">
          <a:xfrm>
            <a:off x="5165356" y="4190722"/>
            <a:ext cx="1804394" cy="9925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ple tex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rem ipsum dolor sit amet consetetur sadipscing</a:t>
            </a:r>
          </a:p>
        </p:txBody>
      </p:sp>
      <p:pic>
        <p:nvPicPr>
          <p:cNvPr id="23" name="Grafik 57">
            <a:extLst>
              <a:ext uri="{FF2B5EF4-FFF2-40B4-BE49-F238E27FC236}">
                <a16:creationId xmlns:a16="http://schemas.microsoft.com/office/drawing/2014/main" id="{E7C64ACE-622E-7AD0-7449-AC6365C22004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810207" y="2508250"/>
            <a:ext cx="514692" cy="514692"/>
          </a:xfrm>
          <a:prstGeom prst="rect">
            <a:avLst/>
          </a:prstGeom>
        </p:spPr>
      </p:pic>
      <p:cxnSp>
        <p:nvCxnSpPr>
          <p:cNvPr id="3" name="Gerade Verbindung 37">
            <a:extLst>
              <a:ext uri="{FF2B5EF4-FFF2-40B4-BE49-F238E27FC236}">
                <a16:creationId xmlns:a16="http://schemas.microsoft.com/office/drawing/2014/main" id="{02BF8DF5-2C6E-80CA-92A7-FD6BB7FDB4BB}"/>
              </a:ext>
            </a:extLst>
          </p:cNvPr>
          <p:cNvCxnSpPr>
            <a:cxnSpLocks/>
          </p:cNvCxnSpPr>
          <p:nvPr/>
        </p:nvCxnSpPr>
        <p:spPr bwMode="gray">
          <a:xfrm>
            <a:off x="3716037" y="3186591"/>
            <a:ext cx="0" cy="868372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llipse 18">
            <a:extLst>
              <a:ext uri="{FF2B5EF4-FFF2-40B4-BE49-F238E27FC236}">
                <a16:creationId xmlns:a16="http://schemas.microsoft.com/office/drawing/2014/main" id="{A3755DE4-C239-9EE8-7F75-BB284978401E}"/>
              </a:ext>
            </a:extLst>
          </p:cNvPr>
          <p:cNvSpPr>
            <a:spLocks/>
          </p:cNvSpPr>
          <p:nvPr/>
        </p:nvSpPr>
        <p:spPr bwMode="gray">
          <a:xfrm>
            <a:off x="3295042" y="2344600"/>
            <a:ext cx="841991" cy="841991"/>
          </a:xfrm>
          <a:prstGeom prst="ellipse">
            <a:avLst/>
          </a:prstGeom>
          <a:ln w="952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feld 21">
            <a:extLst>
              <a:ext uri="{FF2B5EF4-FFF2-40B4-BE49-F238E27FC236}">
                <a16:creationId xmlns:a16="http://schemas.microsoft.com/office/drawing/2014/main" id="{DC2FB70E-1B1D-5D53-93DB-8F050EF8B7DB}"/>
              </a:ext>
            </a:extLst>
          </p:cNvPr>
          <p:cNvSpPr txBox="1">
            <a:spLocks/>
          </p:cNvSpPr>
          <p:nvPr/>
        </p:nvSpPr>
        <p:spPr bwMode="gray">
          <a:xfrm>
            <a:off x="2813840" y="4190722"/>
            <a:ext cx="1804394" cy="9925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ple tex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rem ipsum dolor sit amet consetetur sadipscing</a:t>
            </a:r>
          </a:p>
        </p:txBody>
      </p:sp>
      <p:pic>
        <p:nvPicPr>
          <p:cNvPr id="37" name="Grafik 58">
            <a:extLst>
              <a:ext uri="{FF2B5EF4-FFF2-40B4-BE49-F238E27FC236}">
                <a16:creationId xmlns:a16="http://schemas.microsoft.com/office/drawing/2014/main" id="{063179F6-371C-51DB-EDBE-A73D67371B83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458691" y="2508250"/>
            <a:ext cx="514692" cy="514692"/>
          </a:xfrm>
          <a:prstGeom prst="rect">
            <a:avLst/>
          </a:prstGeom>
        </p:spPr>
      </p:pic>
      <p:cxnSp>
        <p:nvCxnSpPr>
          <p:cNvPr id="2" name="Gerade Verbindung 13">
            <a:extLst>
              <a:ext uri="{FF2B5EF4-FFF2-40B4-BE49-F238E27FC236}">
                <a16:creationId xmlns:a16="http://schemas.microsoft.com/office/drawing/2014/main" id="{3ED9D482-7F4C-B183-14FF-79A1D8B51AD7}"/>
              </a:ext>
            </a:extLst>
          </p:cNvPr>
          <p:cNvCxnSpPr>
            <a:cxnSpLocks/>
          </p:cNvCxnSpPr>
          <p:nvPr/>
        </p:nvCxnSpPr>
        <p:spPr bwMode="gray">
          <a:xfrm flipH="1">
            <a:off x="1364521" y="3186591"/>
            <a:ext cx="1" cy="868372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llipse 7">
            <a:extLst>
              <a:ext uri="{FF2B5EF4-FFF2-40B4-BE49-F238E27FC236}">
                <a16:creationId xmlns:a16="http://schemas.microsoft.com/office/drawing/2014/main" id="{6CDD405F-BA4C-768A-9615-345E9EBA3E72}"/>
              </a:ext>
            </a:extLst>
          </p:cNvPr>
          <p:cNvSpPr>
            <a:spLocks/>
          </p:cNvSpPr>
          <p:nvPr/>
        </p:nvSpPr>
        <p:spPr bwMode="gray">
          <a:xfrm>
            <a:off x="943526" y="2344600"/>
            <a:ext cx="841991" cy="841991"/>
          </a:xfrm>
          <a:prstGeom prst="ellipse">
            <a:avLst/>
          </a:prstGeom>
          <a:ln w="952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98D4B8C-1E77-7F0F-81F5-FB388BC8AA50}"/>
              </a:ext>
            </a:extLst>
          </p:cNvPr>
          <p:cNvSpPr txBox="1">
            <a:spLocks/>
          </p:cNvSpPr>
          <p:nvPr/>
        </p:nvSpPr>
        <p:spPr bwMode="gray">
          <a:xfrm>
            <a:off x="462324" y="4190722"/>
            <a:ext cx="1804394" cy="9925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ple tex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rem ipsum dolor sit amet consetetur sadipscing</a:t>
            </a:r>
          </a:p>
        </p:txBody>
      </p:sp>
      <p:pic>
        <p:nvPicPr>
          <p:cNvPr id="38" name="Grafik 59">
            <a:extLst>
              <a:ext uri="{FF2B5EF4-FFF2-40B4-BE49-F238E27FC236}">
                <a16:creationId xmlns:a16="http://schemas.microsoft.com/office/drawing/2014/main" id="{FA3F9A20-7081-E988-E0B0-2E0075118A1E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07175" y="2508250"/>
            <a:ext cx="514692" cy="514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371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32687&quot;&gt;&lt;version val=&quot;38576&quot;/&gt;&lt;CPresentation id=&quot;1&quot;&gt;&lt;m_precDefaultOrdinal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1pE9Ooz8ENPkdRf0y7Cj/w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pE9Ooz8ENPkdRf0y7Cj/wDRGF0YQAWAAAAAlBlcnNvbmFsSWQAAQAAAAAAAk5hbWUACwAAAFBlcnNvbmFsSWQAEFZlcnNpb24AAAAAAAlMYXN0V3JpdGUAfd0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7590894"/>
  <p:tag name="EMPOWERCHARTSPROPERTIES_A_LENGTH" val="24576"/>
  <p:tag name="RUNTIME_ID" val="16acf1ac-cceb-491d-a6d1-e6cd071ec297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3yy8luin8PV7dT4WjFt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GUpeByQk8.7701A2.A_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Fm9h8n70YSp37QAzNt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I0FgsASX484AXR0BXS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9C7EyvKgjcIadkHp_A3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Labb07mzEOIymrWakRV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vg.hI5hQwcQRkdKlqej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5P8oWpxK1MOg7VwdJdY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mzOGYV2Yrk47yatbAId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wgYXGBjXrdrF8tPFey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1EyNwlVm4JImabasrvuEzQ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EyNwlVm4JImabasrvuEzQDRGF0YQAWAAAAAlBlcnNvbmFsSWQAAQAAAAAAAk5hbWUACwAAAFBlcnNvbmFsSWQAEFZlcnNpb24AAAAAAAlMYXN0V3JpdGUA3t0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8215908"/>
  <p:tag name="EMPOWERCHARTSPROPERTIES_A_LENGTH" val="24576"/>
  <p:tag name="RUNTIME_ID" val="d8b6bc76-88c3-4d45-bdb1-8d2d63624c3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dSiuDZp9iGpfRwacNp7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.6iokZrnivcx3yG.HON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OWpFJijvY8pU6Qxyc6f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2RYtJTlnCwORTvSJxyp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D5ekPUEHKmx3J5vlDHs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eIXJeWdKV0DsDWCP7AT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JKYiPyCLX7LvQOsORkr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xaDD9IRiymG5mfbTmnN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7XEddqEMJey8hLpZ0WD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u2dd6Pe7ldi_K7bubH6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/HASSaL05CrGnSLVnyZT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/HASSaL05CrGnSLVnyZTwDRGF0YQAWAAAAAlBlcnNvbmFsSWQAAQAAAAAAAk5hbWUACwAAAFBlcnNvbmFsSWQAEFZlcnNpb24AAAAAAAlMYXN0V3JpdGUALd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8688754"/>
  <p:tag name="EMPOWERCHARTSPROPERTIES_A_LENGTH" val="24576"/>
  <p:tag name="RUNTIME_ID" val="d5deb12e-56a9-4197-b833-8b2d72f808d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wMLS1URbJDQHQnET1L5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3mPgb5jGjVei7h7flqz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C.iEvdg45k1Gp8RLYc4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2wYtotEW_EMFUJnhmqo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VlaX.HH1Ueb4AK9LKfV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TOdh3fZ4TDnKM94KXz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0ktQ6z1aaAMdhxkjf8n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E2mgSS.9i6iOyxy9ayt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eBOmTEBoQY0iAplVr9z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yP9mMvfTTG1pTHTBjL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PzQ1hbclxBn7kpOLM1Bh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PzQ1hbclxBn7kpOLM1BhkDRGF0YQAWAAAAAlBlcnNvbmFsSWQAAQAAAAAAAk5hbWUACwAAAFBlcnNvbmFsSWQAEFZlcnNpb24AAAAAAAlMYXN0V3JpdGUATN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9001175"/>
  <p:tag name="EMPOWERCHARTSPROPERTIES_A_LENGTH" val="24576"/>
  <p:tag name="RUNTIME_ID" val="5157e17a-719b-453a-aa1b-f7c797e9e3a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fvsVd3z2B1RHtzxpbZC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A41vuZXgs30Q5EWth_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8dwSIOiEBX4vQa2FLhT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igoNkxwRI9P7L.cF4uH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FxY1JnGTgb4akN5VmUP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TuQG_c2QQC8P2w7etdH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jh6xYN08.cRlxpeFqp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LRROwbAReKllzV88gHb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gHQCbdXOqgbOJHd_Fz6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K/m7vbT35PmbL+nB7I81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K/m7vbT35PmbL+nB7I81QDRGF0YQAWAAAAAlBlcnNvbmFsSWQAAQAAAAAAAk5hbWUACwAAAFBlcnNvbmFsSWQAEFZlcnNpb24AAAAAAAlMYXN0V3JpdGUAa9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9459136"/>
  <p:tag name="EMPOWERCHARTSPROPERTIES_A_LENGTH" val="24576"/>
  <p:tag name="RUNTIME_ID" val="a886bc6a-a9bd-41da-95fb-00eef078435c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ulqmVjBkK4DKtg9nXXs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3gHd.TC0qPqTq24oU.c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ulqmVjBkK4DKtg9nXXs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ulqmVjBkK4DKtg9nXXs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ulqmVjBkK4DKtg9nXXs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ulqmVjBkK4DKtg9nXXs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ulqmVjBkK4DKtg9nXXs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ulqmVjBkK4DKtg9nXXs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3gHd.TC0qPqTq24oU.c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ulqmVjBkK4DKtg9nXX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u67S5QD8dFgKzzyz3rOO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u67S5QD8dFgKzzyz3rOOYDRGF0YQAWAAAAAlBlcnNvbmFsSWQAAQAAAAAAAk5hbWUACwAAAFBlcnNvbmFsSWQAEFZlcnNpb24AAAAAAAlMYXN0V3JpdGUAqt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0099430"/>
  <p:tag name="EMPOWERCHARTSPROPERTIES_A_LENGTH" val="24576"/>
  <p:tag name="RUNTIME_ID" val="155d7f78-9094-4aaa-a015-edd0ac21d8b7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3gHd.TC0qPqTq24oU.c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ulqmVjBkK4DKtg9nXXs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3gHd.TC0qPqTq24oU.c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ulqmVjBkK4DKtg9nXXs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3gHd.TC0qPqTq24oU.c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u67S5QD8dFgKzzyz3rOO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u67S5QD8dFgKzzyz3rOOYDRGF0YQAWAAAAAlBlcnNvbmFsSWQAAQAAAAAAAk5hbWUACwAAAFBlcnNvbmFsSWQAEFZlcnNpb24AAAAAAAlMYXN0V3JpdGUAqt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0099430"/>
  <p:tag name="EMPOWERCHARTSPROPERTIES_A_LENGTH" val="24576"/>
  <p:tag name="RUNTIME_ID" val="155d7f78-9094-4aaa-a015-edd0ac21d8b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u67S5QD8dFgKzzyz3rOO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u67S5QD8dFgKzzyz3rOOYDRGF0YQAWAAAAAlBlcnNvbmFsSWQAAQAAAAAAAk5hbWUACwAAAFBlcnNvbmFsSWQAEFZlcnNpb24AAAAAAAlMYXN0V3JpdGUAqt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0099430"/>
  <p:tag name="EMPOWERCHARTSPROPERTIES_A_LENGTH" val="24576"/>
  <p:tag name="RUNTIME_ID" val="155d7f78-9094-4aaa-a015-edd0ac21d8b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u67S5QD8dFgKzzyz3rOO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u67S5QD8dFgKzzyz3rOOYDRGF0YQAWAAAAAlBlcnNvbmFsSWQAAQAAAAAAAk5hbWUACwAAAFBlcnNvbmFsSWQAEFZlcnNpb24AAAAAAAlMYXN0V3JpdGUAqt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0099430"/>
  <p:tag name="EMPOWERCHARTSPROPERTIES_A_LENGTH" val="24576"/>
  <p:tag name="RUNTIME_ID" val="155d7f78-9094-4aaa-a015-edd0ac21d8b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u67S5QD8dFgKzzyz3rOO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u67S5QD8dFgKzzyz3rOOYDRGF0YQAWAAAAAlBlcnNvbmFsSWQAAQAAAAAAAk5hbWUACwAAAFBlcnNvbmFsSWQAEFZlcnNpb24AAAAAAAlMYXN0V3JpdGUAqt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0099430"/>
  <p:tag name="EMPOWERCHARTSPROPERTIES_A_LENGTH" val="24576"/>
  <p:tag name="RUNTIME_ID" val="155d7f78-9094-4aaa-a015-edd0ac21d8b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ZZMG1UEjrpLprLkKmM8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aCipWncelsV4wtyL8AJ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ofVvzu7st_NA2hGnlNj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zSlG4hldndqxr9cKvm7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t7z1gxC2Y0uf0zIShM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lyW_LAnZuM5dEKOfY9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2ypqjYytie66yu3XiLt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6wQfy1tZ0qWIzeTVdD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HNNGH1qjzZGqO7e05jG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.TmorIpXLWZv2mOzWGc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h_lEQ2Dc1dNA93zsPhF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or8O7pPwWwXILM1Q0Gz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n_UjKIy.43VcrBDeFfS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xLwAfiDFmN0KAuss.AM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cCMESKDXbomx_m0L5o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02SAMahNFHux9fJlDL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pEKX.Q7DcTM24Cb4DUp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C_DxcveIkVT_kvX6m.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1jnWYSdAmUsXr9un4GcH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qrjUl2xyUdaz1nnIgzW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VF0YNiTeVb6aM6yAf15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GNyRMKn60Izk9gSUi7.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3iKmtnIveyaS0xND4qe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Q.HpARF.tQq8bsyMR4r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VRx8ZfpCX0DRnRSgmuj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nVuTw.0gqPEkFFoXymP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QpxivINeKuLHzikNbn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jqpWl9MwhPVozdml.Cf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vAiPJ5y1Rtjbox1VbWV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6hRDim3SJvDl8p5bi7o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V_xbKzuGU5dOqIAas64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0iChSfggehlxl0wJtNg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PhzZcxQJVS7AYbU9o9H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Gr9QNEPsUbJFdHx1j1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osjanSvR2BRNk1T73vj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8s3MzP2UOHQetFjtBP.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RLR2egRACnvVVYnofyq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UPqmAegLRBBR03yO2Lz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gLhXxVnuyVv8qvhBEa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os.uwWxytLowaH9c6D_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InmFWn9705RTILMvqdN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bGbDrki4zraw8kt7HD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CV41ONHEV0l.sbdYtIC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2iCAXAaj.LMKjTZcWkA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RFaOP.TGRD7j5em8wJA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otLKCYBqz2mwi6E_W2W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1vehGBoBKfIeJ1VEwXd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YM.jmFJ_Z8NV7y4yZYW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UoOGP21kgkqHPj0tcYy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I32.eLs86v9kBQ_ZPUL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Y.q2MQ0ljmeytTrzRF5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b5A.06YAj597fnPioQ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zWPwwEAHZFdIfK6tC7E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w0JPDxT_iMjc3KfOuT7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jX72vul0.v0hntmubsw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QRRGMCZiCz4guHgm7Jj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yWfu4aKc2EigYzbqHp8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Gg6xC5WyY9jUAdpAORc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kqR7l_fCYGnz2BxsSE2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9kACdbPWhfZBVRyW6m5.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5sHZQNSPlVzYLPVsiaN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mga6gRRfygtFDdTprV8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5PtH3O2TrZIzVL_jcTQ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WCM3mIR1pcbVbKi7sUz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Ru73JidH8id5j_KaNMD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E3S0WJ2sIqoSz_53QNa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cXFRCpib8gjAMjkww6g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2nq9xYIsALHryj5Shog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srEHA2mrGR7lyLQ4poA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eX_wcazjBiur3jn9oAL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zCmXgW44iTmnmL0BPpn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vzIfhY9ScP0SQuT8LqkQ"/>
</p:tagLst>
</file>

<file path=ppt/theme/theme1.xml><?xml version="1.0" encoding="utf-8"?>
<a:theme xmlns:a="http://schemas.openxmlformats.org/drawingml/2006/main" name="1_think-cell 2025">
  <a:themeElements>
    <a:clrScheme name="think-cell Color Theme">
      <a:dk1>
        <a:srgbClr val="080808"/>
      </a:dk1>
      <a:lt1>
        <a:srgbClr val="FFFFFF"/>
      </a:lt1>
      <a:dk2>
        <a:srgbClr val="525252"/>
      </a:dk2>
      <a:lt2>
        <a:srgbClr val="EFEFF1"/>
      </a:lt2>
      <a:accent1>
        <a:srgbClr val="2972FF"/>
      </a:accent1>
      <a:accent2>
        <a:srgbClr val="1BBC9B"/>
      </a:accent2>
      <a:accent3>
        <a:srgbClr val="E4941B"/>
      </a:accent3>
      <a:accent4>
        <a:srgbClr val="D9E9FF"/>
      </a:accent4>
      <a:accent5>
        <a:srgbClr val="8EC1FF"/>
      </a:accent5>
      <a:accent6>
        <a:srgbClr val="A1A1A1"/>
      </a:accent6>
      <a:hlink>
        <a:srgbClr val="0070B0"/>
      </a:hlink>
      <a:folHlink>
        <a:srgbClr val="C52536"/>
      </a:folHlink>
    </a:clrScheme>
    <a:fontScheme name="think-ce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72000" tIns="72000" rIns="72000" bIns="72000" rtlCol="0" anchor="ctr"/>
      <a:lstStyle>
        <a:defPPr algn="l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BC72CD53-A9E9-4AFE-8A78-ACCE27413D4E}" vid="{8EC881E7-72DA-4F7C-896C-42699F70B9A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6CAD090FCB6C41B211BDAFA3947C73" ma:contentTypeVersion="16" ma:contentTypeDescription="Create a new document." ma:contentTypeScope="" ma:versionID="7662ee4d4cdf8d640f946d6a6a1f4d65">
  <xsd:schema xmlns:xsd="http://www.w3.org/2001/XMLSchema" xmlns:xs="http://www.w3.org/2001/XMLSchema" xmlns:p="http://schemas.microsoft.com/office/2006/metadata/properties" xmlns:ns2="40b3a238-e851-4bda-be3d-1ed623dfc157" xmlns:ns3="4bd4d397-a849-4111-8caa-2cd1909bb285" targetNamespace="http://schemas.microsoft.com/office/2006/metadata/properties" ma:root="true" ma:fieldsID="594cf9e78fd8b9667706b8e1c1c1e405" ns2:_="" ns3:_="">
    <xsd:import namespace="40b3a238-e851-4bda-be3d-1ed623dfc157"/>
    <xsd:import namespace="4bd4d397-a849-4111-8caa-2cd1909bb28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b3a238-e851-4bda-be3d-1ed623dfc1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d4d397-a849-4111-8caa-2cd1909bb28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1f2e69d-9d44-4842-ab62-01f6b5913424}" ma:internalName="TaxCatchAll" ma:showField="CatchAllData" ma:web="4bd4d397-a849-4111-8caa-2cd1909bb28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0b3a238-e851-4bda-be3d-1ed623dfc157">
      <Terms xmlns="http://schemas.microsoft.com/office/infopath/2007/PartnerControls"/>
    </lcf76f155ced4ddcb4097134ff3c332f>
    <TaxCatchAll xmlns="4bd4d397-a849-4111-8caa-2cd1909bb285" xsi:nil="true"/>
  </documentManagement>
</p:properties>
</file>

<file path=customXml/itemProps1.xml><?xml version="1.0" encoding="utf-8"?>
<ds:datastoreItem xmlns:ds="http://schemas.openxmlformats.org/officeDocument/2006/customXml" ds:itemID="{F76D3F7B-52B7-43C9-87B7-F715B8038238}"/>
</file>

<file path=customXml/itemProps2.xml><?xml version="1.0" encoding="utf-8"?>
<ds:datastoreItem xmlns:ds="http://schemas.openxmlformats.org/officeDocument/2006/customXml" ds:itemID="{3B043D59-7F50-46D0-903A-F121FD5FA3B6}"/>
</file>

<file path=customXml/itemProps3.xml><?xml version="1.0" encoding="utf-8"?>
<ds:datastoreItem xmlns:ds="http://schemas.openxmlformats.org/officeDocument/2006/customXml" ds:itemID="{0883FC38-265C-4F09-83C8-53582CAA371D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09</Words>
  <PresentationFormat>Widescreen</PresentationFormat>
  <Paragraphs>208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Aptos</vt:lpstr>
      <vt:lpstr>Arial</vt:lpstr>
      <vt:lpstr>Calibri</vt:lpstr>
      <vt:lpstr>Futura</vt:lpstr>
      <vt:lpstr>League Spartan</vt:lpstr>
      <vt:lpstr>Poppins</vt:lpstr>
      <vt:lpstr>Source Sans Pro</vt:lpstr>
      <vt:lpstr>Symbol</vt:lpstr>
      <vt:lpstr>1_think-cell 2025</vt:lpstr>
      <vt:lpstr>think-cell Slide</vt:lpstr>
      <vt:lpstr>Project planning template</vt:lpstr>
      <vt:lpstr>You can use think-cell to adapt your planning template to meet the needs of the project</vt:lpstr>
      <vt:lpstr>Agenda</vt:lpstr>
      <vt:lpstr>Project scope &amp; deliverables</vt:lpstr>
      <vt:lpstr>Dashboard overview/KPI tracking</vt:lpstr>
      <vt:lpstr>Project workstreams &amp; level of completeness</vt:lpstr>
      <vt:lpstr>Interdependencies</vt:lpstr>
      <vt:lpstr>SWOT analysis showing key risks and opportunities</vt:lpstr>
      <vt:lpstr>Upcoming milestones</vt:lpstr>
      <vt:lpstr>Timeline: Gantt</vt:lpstr>
      <vt:lpstr>Next steps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nk-cell Project Planning Template</dc:title>
  <dc:creator>think-cell</dc:creator>
  <cp:lastModifiedBy/>
  <dcterms:created xsi:type="dcterms:W3CDTF">2026-02-10T13:18:52Z</dcterms:created>
  <dcterms:modified xsi:type="dcterms:W3CDTF">2026-02-10T13:19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BF6CAD090FCB6C41B211BDAFA3947C73</vt:lpwstr>
  </property>
</Properties>
</file>